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36"/>
  </p:notesMasterIdLst>
  <p:sldIdLst>
    <p:sldId id="256" r:id="rId2"/>
    <p:sldId id="257" r:id="rId3"/>
    <p:sldId id="258" r:id="rId4"/>
    <p:sldId id="2145705951" r:id="rId5"/>
    <p:sldId id="2145705952" r:id="rId6"/>
    <p:sldId id="2145705953" r:id="rId7"/>
    <p:sldId id="2145705972" r:id="rId8"/>
    <p:sldId id="2145705973" r:id="rId9"/>
    <p:sldId id="2145705974" r:id="rId10"/>
    <p:sldId id="2145705957" r:id="rId11"/>
    <p:sldId id="2145705961" r:id="rId12"/>
    <p:sldId id="2145705962" r:id="rId13"/>
    <p:sldId id="2145705975" r:id="rId14"/>
    <p:sldId id="2145705964" r:id="rId15"/>
    <p:sldId id="2145705966" r:id="rId16"/>
    <p:sldId id="2145705967" r:id="rId17"/>
    <p:sldId id="2145705969" r:id="rId18"/>
    <p:sldId id="2145705970" r:id="rId19"/>
    <p:sldId id="2145705968" r:id="rId20"/>
    <p:sldId id="2145705971" r:id="rId21"/>
    <p:sldId id="2145705954" r:id="rId22"/>
    <p:sldId id="2145705955" r:id="rId23"/>
    <p:sldId id="2145705956" r:id="rId24"/>
    <p:sldId id="309" r:id="rId25"/>
    <p:sldId id="310" r:id="rId26"/>
    <p:sldId id="311" r:id="rId27"/>
    <p:sldId id="312" r:id="rId28"/>
    <p:sldId id="313" r:id="rId29"/>
    <p:sldId id="314" r:id="rId30"/>
    <p:sldId id="315" r:id="rId31"/>
    <p:sldId id="316" r:id="rId32"/>
    <p:sldId id="317" r:id="rId33"/>
    <p:sldId id="318" r:id="rId34"/>
    <p:sldId id="319" r:id="rId35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69" roundtripDataSignature="AMtx7mikRkjFzxOwHA8WAHOV29/jFXnz0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DE6F"/>
    <a:srgbClr val="B5F5CC"/>
    <a:srgbClr val="388C54"/>
    <a:srgbClr val="00F67B"/>
    <a:srgbClr val="00D269"/>
    <a:srgbClr val="00FF7F"/>
    <a:srgbClr val="006633"/>
    <a:srgbClr val="008040"/>
    <a:srgbClr val="356F47"/>
    <a:srgbClr val="3484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74" autoAdjust="0"/>
    <p:restoredTop sz="95373" autoAdjust="0"/>
  </p:normalViewPr>
  <p:slideViewPr>
    <p:cSldViewPr snapToGrid="0">
      <p:cViewPr>
        <p:scale>
          <a:sx n="100" d="100"/>
          <a:sy n="100" d="100"/>
        </p:scale>
        <p:origin x="90" y="-796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69" Type="http://customschemas.google.com/relationships/presentationmetadata" Target="metadata"/><Relationship Id="rId8" Type="http://schemas.openxmlformats.org/officeDocument/2006/relationships/slide" Target="slides/slide7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2" name="Google Shape;192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3" name="Google Shape;193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6" name="Google Shape;906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7" name="Google Shape;907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5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" name="Google Shape;91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1" name="Google Shape;911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2" name="Google Shape;912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6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Google Shape;91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9" name="Google Shape;919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0" name="Google Shape;920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7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" name="Google Shape;94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0" name="Google Shape;950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51" name="Google Shape;951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8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Google Shape;980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81" name="Google Shape;981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2" name="Google Shape;982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9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" name="Google Shape;100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5" name="Google Shape;1005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6" name="Google Shape;1006;p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0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Google Shape;107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1" name="Google Shape;1071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2" name="Google Shape;1072;p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1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" name="Google Shape;1112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13" name="Google Shape;1113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4" name="Google Shape;1114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2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Google Shape;1120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21" name="Google Shape;1121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2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3</a:t>
            </a:fld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" name="Google Shape;1154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55" name="Google Shape;1155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6" name="Google Shape;1156;p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4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Google Shape;196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7" name="Google Shape;197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8" name="Google Shape;198;p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1" name="Google Shape;211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2" name="Google Shape;212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6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437960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7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82938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BA8551-5EC0-116E-E1DE-2E5BD2F8D2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7B2FC7-4965-95BE-B86F-82365CC8D8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9D5992D-5612-2A13-DF21-79D7630813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D843FA-36BC-CF01-CFF5-DEC846C59E4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1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350268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90F138-E40B-4076-FE6B-8034001726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C38F2-1C28-6B57-7165-F746022EF1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9953B64-7516-4533-E7EC-50A93A1449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6BC05A-8E84-35C1-579F-EBD26629377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2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142473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50317E-E6EA-636E-3C4A-A718DBFB5B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47C573-11F9-0A77-C49A-036EA831AB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10B2666-CD48-4C6B-4E4D-2B5439A9C1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D077A3-5504-894D-BDF3-EA81F36D882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3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955608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" name="Google Shape;895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6" name="Google Shape;896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7" name="Google Shape;897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4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23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3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3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3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3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3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3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3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3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" name="Google Shape;68;p3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3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71;p3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2" name="Google Shape;72;p3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" name="Google Shape;73;p3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5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6" name="Google Shape;76;p3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3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3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36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1" name="Google Shape;81;p3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3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36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37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7" name="Google Shape;87;p37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37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37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37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" name="Google Shape;91;p3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3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4" name="Google Shape;94;p3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38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38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38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38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3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1" name="Google Shape;101;p39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3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4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5" name="Google Shape;105;p40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" name="Google Shape;106;p40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41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41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41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41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41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3" name="Google Shape;113;p41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4" name="Google Shape;114;p4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with customer logo">
  <p:cSld name="Title slide with customer logo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2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2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3" name="Google Shape;23;p2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" name="Google Shape;24;p2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24"/>
          <p:cNvSpPr txBox="1">
            <a:spLocks noGrp="1"/>
          </p:cNvSpPr>
          <p:nvPr>
            <p:ph type="body" idx="3"/>
          </p:nvPr>
        </p:nvSpPr>
        <p:spPr>
          <a:xfrm>
            <a:off x="9169200" y="1962000"/>
            <a:ext cx="2592000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2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7" name="Google Shape;117;p42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42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42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42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p42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2" name="Google Shape;122;p42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3" name="Google Shape;123;p42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42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4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43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8" name="Google Shape;128;p43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9" name="Google Shape;129;p43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0" name="Google Shape;130;p43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43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43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p43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43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43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43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43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43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4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44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2" name="Google Shape;142;p44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3" name="Google Shape;143;p44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4" name="Google Shape;144;p44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44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44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44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p44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9" name="Google Shape;149;p44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0" name="Google Shape;150;p44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" name="Google Shape;151;p44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44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44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44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44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45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59" name="Google Shape;159;p45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45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45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45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45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4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" name="Google Shape;166;p46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67" name="Google Shape;167;p46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46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46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46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46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2" name="Google Shape;172;p46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3" name="Google Shape;173;p46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46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" name="Google Shape;175;p4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47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" name="Google Shape;178;p47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47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47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47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47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3" name="Google Shape;183;p47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47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p47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47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47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47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4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0932779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orient="horz" pos="1359">
          <p15:clr>
            <a:srgbClr val="FBAE40"/>
          </p15:clr>
        </p15:guide>
        <p15:guide id="22" pos="3568">
          <p15:clr>
            <a:srgbClr val="FBAE40"/>
          </p15:clr>
        </p15:guide>
        <p15:guide id="23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507" indent="-625507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507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386444834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>
          <p15:clr>
            <a:srgbClr val="FBAE40"/>
          </p15:clr>
        </p15:guide>
        <p15:guide id="9" pos="270">
          <p15:clr>
            <a:srgbClr val="FBAE40"/>
          </p15:clr>
        </p15:guide>
        <p15:guide id="10" pos="3839">
          <p15:clr>
            <a:srgbClr val="FBAE40"/>
          </p15:clr>
        </p15:guide>
        <p15:guide id="11" orient="horz" pos="4047">
          <p15:clr>
            <a:srgbClr val="FBAE40"/>
          </p15:clr>
        </p15:guide>
        <p15:guide id="12" orient="horz" pos="963">
          <p15:clr>
            <a:srgbClr val="FBAE40"/>
          </p15:clr>
        </p15:guide>
        <p15:guide id="13" pos="356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25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8" name="Google Shape;28;p25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2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2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2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2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2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7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0" name="Google Shape;40;p27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27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2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28"/>
          <p:cNvSpPr txBox="1">
            <a:spLocks noGrp="1"/>
          </p:cNvSpPr>
          <p:nvPr>
            <p:ph type="body" idx="1"/>
          </p:nvPr>
        </p:nvSpPr>
        <p:spPr>
          <a:xfrm>
            <a:off x="431999" y="1528763"/>
            <a:ext cx="11329200" cy="4899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2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image">
  <p:cSld name="Title with image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8" name="Google Shape;48;p2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orient="horz" pos="6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30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1" name="Google Shape;51;p30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30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3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1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31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3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2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2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2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22"/>
          <p:cNvPicPr preferRelativeResize="0"/>
          <p:nvPr/>
        </p:nvPicPr>
        <p:blipFill rotWithShape="1">
          <a:blip r:embed="rId29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5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43.jp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10" Type="http://schemas.openxmlformats.org/officeDocument/2006/relationships/image" Target="../media/image57.png"/><Relationship Id="rId4" Type="http://schemas.openxmlformats.org/officeDocument/2006/relationships/hyperlink" Target="about:blank" TargetMode="External"/><Relationship Id="rId9" Type="http://schemas.openxmlformats.org/officeDocument/2006/relationships/image" Target="../media/image56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43.jpg"/><Relationship Id="rId7" Type="http://schemas.openxmlformats.org/officeDocument/2006/relationships/image" Target="../media/image6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Relationship Id="rId9" Type="http://schemas.openxmlformats.org/officeDocument/2006/relationships/image" Target="../media/image63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66DA6D29-2AAD-58F8-5BBE-8628CD318908}"/>
              </a:ext>
            </a:extLst>
          </p:cNvPr>
          <p:cNvGrpSpPr/>
          <p:nvPr/>
        </p:nvGrpSpPr>
        <p:grpSpPr>
          <a:xfrm>
            <a:off x="0" y="1098000"/>
            <a:ext cx="12192000" cy="5858751"/>
            <a:chOff x="0" y="1098000"/>
            <a:chExt cx="12192000" cy="5858751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04AF4DA-433C-EB2A-2BE1-1FF9FE9E7D1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1098000"/>
              <a:ext cx="12192000" cy="5858751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18FE79DC-686C-FE47-DF4B-B02C2D13E6D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360145" y="1098000"/>
              <a:ext cx="292966" cy="292966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ADCFC3C7-332E-8A56-80E2-873E73FDA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 IN TRELLO SYSTEM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2371837-BD45-9192-1787-ED61C71FC7B6}"/>
              </a:ext>
            </a:extLst>
          </p:cNvPr>
          <p:cNvGrpSpPr/>
          <p:nvPr/>
        </p:nvGrpSpPr>
        <p:grpSpPr>
          <a:xfrm>
            <a:off x="291549" y="2763671"/>
            <a:ext cx="1953534" cy="337288"/>
            <a:chOff x="4131428" y="1700415"/>
            <a:chExt cx="1953534" cy="337288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E414DDEF-74DE-6572-20C8-A9897084DCEE}"/>
                </a:ext>
              </a:extLst>
            </p:cNvPr>
            <p:cNvSpPr/>
            <p:nvPr/>
          </p:nvSpPr>
          <p:spPr>
            <a:xfrm>
              <a:off x="4131428" y="1831019"/>
              <a:ext cx="561892" cy="15372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1B571EAF-895C-73F3-1D8D-37EA12DD072A}"/>
                </a:ext>
              </a:extLst>
            </p:cNvPr>
            <p:cNvCxnSpPr>
              <a:cxnSpLocks/>
              <a:endCxn id="6" idx="3"/>
            </p:cNvCxnSpPr>
            <p:nvPr/>
          </p:nvCxnSpPr>
          <p:spPr>
            <a:xfrm flipH="1">
              <a:off x="4693320" y="1907882"/>
              <a:ext cx="27365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E405B147-E071-78F2-DC68-FD7E13ADC69A}"/>
                </a:ext>
              </a:extLst>
            </p:cNvPr>
            <p:cNvSpPr/>
            <p:nvPr/>
          </p:nvSpPr>
          <p:spPr>
            <a:xfrm>
              <a:off x="4984869" y="1750231"/>
              <a:ext cx="1100093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Google Shape;225;g370fc456c4b_0_4">
              <a:extLst>
                <a:ext uri="{FF2B5EF4-FFF2-40B4-BE49-F238E27FC236}">
                  <a16:creationId xmlns:a16="http://schemas.microsoft.com/office/drawing/2014/main" id="{AE191378-EB32-26A0-2EF0-A293E4B36228}"/>
                </a:ext>
              </a:extLst>
            </p:cNvPr>
            <p:cNvSpPr txBox="1"/>
            <p:nvPr/>
          </p:nvSpPr>
          <p:spPr>
            <a:xfrm>
              <a:off x="5001094" y="1700415"/>
              <a:ext cx="108386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44CE898-5CF2-7BA5-D631-BC180201383F}"/>
              </a:ext>
            </a:extLst>
          </p:cNvPr>
          <p:cNvGrpSpPr/>
          <p:nvPr/>
        </p:nvGrpSpPr>
        <p:grpSpPr>
          <a:xfrm>
            <a:off x="4067651" y="2139484"/>
            <a:ext cx="1155547" cy="653989"/>
            <a:chOff x="3766475" y="2093833"/>
            <a:chExt cx="1155547" cy="653989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A6421B05-E829-12CF-7159-AA46996D9F42}"/>
                </a:ext>
              </a:extLst>
            </p:cNvPr>
            <p:cNvSpPr/>
            <p:nvPr/>
          </p:nvSpPr>
          <p:spPr>
            <a:xfrm>
              <a:off x="4131428" y="2093833"/>
              <a:ext cx="425643" cy="12663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CEB3D30C-B791-E3E8-CEFE-D2E88B37281C}"/>
                </a:ext>
              </a:extLst>
            </p:cNvPr>
            <p:cNvCxnSpPr>
              <a:cxnSpLocks/>
              <a:endCxn id="39" idx="2"/>
            </p:cNvCxnSpPr>
            <p:nvPr/>
          </p:nvCxnSpPr>
          <p:spPr>
            <a:xfrm flipV="1">
              <a:off x="4344250" y="2220471"/>
              <a:ext cx="0" cy="23563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5EF38421-6D0C-F46C-3FD0-2539A13A7D4C}"/>
                </a:ext>
              </a:extLst>
            </p:cNvPr>
            <p:cNvSpPr/>
            <p:nvPr/>
          </p:nvSpPr>
          <p:spPr>
            <a:xfrm>
              <a:off x="3766475" y="2460350"/>
              <a:ext cx="115554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illingPlan</a:t>
              </a:r>
              <a:endParaRPr lang="en-US" dirty="0"/>
            </a:p>
          </p:txBody>
        </p:sp>
      </p:grpSp>
      <p:sp>
        <p:nvSpPr>
          <p:cNvPr id="54" name="Google Shape;229;g370fc456c4b_0_4">
            <a:extLst>
              <a:ext uri="{FF2B5EF4-FFF2-40B4-BE49-F238E27FC236}">
                <a16:creationId xmlns:a16="http://schemas.microsoft.com/office/drawing/2014/main" id="{07E7BE94-7458-6C11-F160-A63FAEC71F27}"/>
              </a:ext>
            </a:extLst>
          </p:cNvPr>
          <p:cNvSpPr/>
          <p:nvPr/>
        </p:nvSpPr>
        <p:spPr>
          <a:xfrm>
            <a:off x="4915553" y="2143729"/>
            <a:ext cx="449590" cy="12663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55" name="Google Shape;230;g370fc456c4b_0_4">
            <a:extLst>
              <a:ext uri="{FF2B5EF4-FFF2-40B4-BE49-F238E27FC236}">
                <a16:creationId xmlns:a16="http://schemas.microsoft.com/office/drawing/2014/main" id="{6283B1A8-551F-672F-0A3D-F8ED33000E38}"/>
              </a:ext>
            </a:extLst>
          </p:cNvPr>
          <p:cNvCxnSpPr>
            <a:cxnSpLocks/>
          </p:cNvCxnSpPr>
          <p:nvPr/>
        </p:nvCxnSpPr>
        <p:spPr>
          <a:xfrm flipH="1" flipV="1">
            <a:off x="5369396" y="2195299"/>
            <a:ext cx="279008" cy="216367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AEEADE7E-23AA-3C64-071D-59DDF3BC537F}"/>
              </a:ext>
            </a:extLst>
          </p:cNvPr>
          <p:cNvSpPr/>
          <p:nvPr/>
        </p:nvSpPr>
        <p:spPr>
          <a:xfrm>
            <a:off x="5670676" y="2253029"/>
            <a:ext cx="1254909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ttingValue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87B1FBF-EBFD-B477-0F50-C5F010680192}"/>
              </a:ext>
            </a:extLst>
          </p:cNvPr>
          <p:cNvGrpSpPr/>
          <p:nvPr/>
        </p:nvGrpSpPr>
        <p:grpSpPr>
          <a:xfrm>
            <a:off x="4400682" y="1366425"/>
            <a:ext cx="1427829" cy="730123"/>
            <a:chOff x="6468933" y="3824186"/>
            <a:chExt cx="1427829" cy="730123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66440CAE-2B1A-F490-442F-F46705850AC2}"/>
                </a:ext>
              </a:extLst>
            </p:cNvPr>
            <p:cNvSpPr/>
            <p:nvPr/>
          </p:nvSpPr>
          <p:spPr>
            <a:xfrm>
              <a:off x="6500854" y="4355580"/>
              <a:ext cx="1363989" cy="1987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2A2BE838-79F0-22B0-7AF2-4961C7942FEC}"/>
                </a:ext>
              </a:extLst>
            </p:cNvPr>
            <p:cNvCxnSpPr>
              <a:cxnSpLocks/>
            </p:cNvCxnSpPr>
            <p:nvPr/>
          </p:nvCxnSpPr>
          <p:spPr>
            <a:xfrm>
              <a:off x="7182848" y="4115903"/>
              <a:ext cx="0" cy="238482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FE7EA6A7-7EFF-9AC8-0C4B-CB1C39B3195C}"/>
                </a:ext>
              </a:extLst>
            </p:cNvPr>
            <p:cNvSpPr/>
            <p:nvPr/>
          </p:nvSpPr>
          <p:spPr>
            <a:xfrm>
              <a:off x="6468933" y="3824186"/>
              <a:ext cx="142782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93B99A4-DCB9-41DA-0AD4-281AD993BDF8}"/>
              </a:ext>
            </a:extLst>
          </p:cNvPr>
          <p:cNvGrpSpPr/>
          <p:nvPr/>
        </p:nvGrpSpPr>
        <p:grpSpPr>
          <a:xfrm>
            <a:off x="2826689" y="1851113"/>
            <a:ext cx="1552486" cy="501202"/>
            <a:chOff x="5458157" y="4355580"/>
            <a:chExt cx="1552486" cy="501202"/>
          </a:xfrm>
        </p:grpSpPr>
        <p:sp>
          <p:nvSpPr>
            <p:cNvPr id="31" name="Google Shape;229;g370fc456c4b_0_4">
              <a:extLst>
                <a:ext uri="{FF2B5EF4-FFF2-40B4-BE49-F238E27FC236}">
                  <a16:creationId xmlns:a16="http://schemas.microsoft.com/office/drawing/2014/main" id="{CDA591E2-315A-046E-415C-5DB456625FDB}"/>
                </a:ext>
              </a:extLst>
            </p:cNvPr>
            <p:cNvSpPr/>
            <p:nvPr/>
          </p:nvSpPr>
          <p:spPr>
            <a:xfrm>
              <a:off x="6500855" y="4355580"/>
              <a:ext cx="509788" cy="50120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2" name="Google Shape;230;g370fc456c4b_0_4">
              <a:extLst>
                <a:ext uri="{FF2B5EF4-FFF2-40B4-BE49-F238E27FC236}">
                  <a16:creationId xmlns:a16="http://schemas.microsoft.com/office/drawing/2014/main" id="{AC1E67F4-9738-0384-3A20-D8CD1ADA30AB}"/>
                </a:ext>
              </a:extLst>
            </p:cNvPr>
            <p:cNvCxnSpPr>
              <a:cxnSpLocks/>
              <a:endCxn id="31" idx="1"/>
            </p:cNvCxnSpPr>
            <p:nvPr/>
          </p:nvCxnSpPr>
          <p:spPr>
            <a:xfrm>
              <a:off x="6231518" y="4601015"/>
              <a:ext cx="269337" cy="516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26F1695D-B3EB-C19E-A8AA-C1557C485ADF}"/>
                </a:ext>
              </a:extLst>
            </p:cNvPr>
            <p:cNvSpPr/>
            <p:nvPr/>
          </p:nvSpPr>
          <p:spPr>
            <a:xfrm>
              <a:off x="5458157" y="4470024"/>
              <a:ext cx="77362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o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70432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514A98A-F397-0330-8322-C358D53A8207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0DF31B5-0165-7D3D-3AC8-F01F919D35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IN TRELLO SYSTEM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DB736E0-8726-DA0D-5247-D487F74E0B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5977246"/>
          </a:xfrm>
          <a:prstGeom prst="rect">
            <a:avLst/>
          </a:prstGeom>
        </p:spPr>
      </p:pic>
      <p:grpSp>
        <p:nvGrpSpPr>
          <p:cNvPr id="65" name="Group 64">
            <a:extLst>
              <a:ext uri="{FF2B5EF4-FFF2-40B4-BE49-F238E27FC236}">
                <a16:creationId xmlns:a16="http://schemas.microsoft.com/office/drawing/2014/main" id="{467C4B41-E8D1-142B-83DF-7C6F03EA2F39}"/>
              </a:ext>
            </a:extLst>
          </p:cNvPr>
          <p:cNvGrpSpPr/>
          <p:nvPr/>
        </p:nvGrpSpPr>
        <p:grpSpPr>
          <a:xfrm>
            <a:off x="127555" y="2384966"/>
            <a:ext cx="2834867" cy="2468687"/>
            <a:chOff x="4131428" y="2093833"/>
            <a:chExt cx="2834867" cy="2468687"/>
          </a:xfrm>
        </p:grpSpPr>
        <p:sp>
          <p:nvSpPr>
            <p:cNvPr id="66" name="Google Shape;229;g370fc456c4b_0_4">
              <a:extLst>
                <a:ext uri="{FF2B5EF4-FFF2-40B4-BE49-F238E27FC236}">
                  <a16:creationId xmlns:a16="http://schemas.microsoft.com/office/drawing/2014/main" id="{BE1EE737-6D7A-6CE1-E4AE-22E78F56D7D7}"/>
                </a:ext>
              </a:extLst>
            </p:cNvPr>
            <p:cNvSpPr/>
            <p:nvPr/>
          </p:nvSpPr>
          <p:spPr>
            <a:xfrm>
              <a:off x="4131428" y="2093833"/>
              <a:ext cx="2021821" cy="104297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7" name="Google Shape;230;g370fc456c4b_0_4">
              <a:extLst>
                <a:ext uri="{FF2B5EF4-FFF2-40B4-BE49-F238E27FC236}">
                  <a16:creationId xmlns:a16="http://schemas.microsoft.com/office/drawing/2014/main" id="{9B5E49CB-9D75-9292-0F25-6ACD4214B135}"/>
                </a:ext>
              </a:extLst>
            </p:cNvPr>
            <p:cNvCxnSpPr>
              <a:cxnSpLocks/>
              <a:endCxn id="66" idx="2"/>
            </p:cNvCxnSpPr>
            <p:nvPr/>
          </p:nvCxnSpPr>
          <p:spPr>
            <a:xfrm flipH="1" flipV="1">
              <a:off x="5142339" y="3136812"/>
              <a:ext cx="1508665" cy="108752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28CC1BC9-ADD4-72EA-BE02-B6D4689BA7B8}"/>
                </a:ext>
              </a:extLst>
            </p:cNvPr>
            <p:cNvSpPr/>
            <p:nvPr/>
          </p:nvSpPr>
          <p:spPr>
            <a:xfrm>
              <a:off x="6352661" y="4275048"/>
              <a:ext cx="61363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8E898ECC-3152-AB98-7730-79FC8CE18136}"/>
              </a:ext>
            </a:extLst>
          </p:cNvPr>
          <p:cNvGrpSpPr/>
          <p:nvPr/>
        </p:nvGrpSpPr>
        <p:grpSpPr>
          <a:xfrm>
            <a:off x="179892" y="2718663"/>
            <a:ext cx="1422079" cy="216320"/>
            <a:chOff x="6500855" y="4338279"/>
            <a:chExt cx="1422079" cy="216320"/>
          </a:xfrm>
        </p:grpSpPr>
        <p:sp>
          <p:nvSpPr>
            <p:cNvPr id="70" name="Google Shape;229;g370fc456c4b_0_4">
              <a:extLst>
                <a:ext uri="{FF2B5EF4-FFF2-40B4-BE49-F238E27FC236}">
                  <a16:creationId xmlns:a16="http://schemas.microsoft.com/office/drawing/2014/main" id="{0A4BDAC3-9933-460F-2522-0407519755E3}"/>
                </a:ext>
              </a:extLst>
            </p:cNvPr>
            <p:cNvSpPr/>
            <p:nvPr/>
          </p:nvSpPr>
          <p:spPr>
            <a:xfrm>
              <a:off x="6500855" y="4355581"/>
              <a:ext cx="449908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1" name="Google Shape;230;g370fc456c4b_0_4">
              <a:extLst>
                <a:ext uri="{FF2B5EF4-FFF2-40B4-BE49-F238E27FC236}">
                  <a16:creationId xmlns:a16="http://schemas.microsoft.com/office/drawing/2014/main" id="{03F5F2C0-2E63-80E5-6FA3-6AC3A612B2FB}"/>
                </a:ext>
              </a:extLst>
            </p:cNvPr>
            <p:cNvCxnSpPr>
              <a:cxnSpLocks/>
              <a:endCxn id="70" idx="3"/>
            </p:cNvCxnSpPr>
            <p:nvPr/>
          </p:nvCxnSpPr>
          <p:spPr>
            <a:xfrm flipH="1">
              <a:off x="6950763" y="4446439"/>
              <a:ext cx="206733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2" name="Rectangle: Rounded Corners 71">
              <a:extLst>
                <a:ext uri="{FF2B5EF4-FFF2-40B4-BE49-F238E27FC236}">
                  <a16:creationId xmlns:a16="http://schemas.microsoft.com/office/drawing/2014/main" id="{89441518-AF8A-68D6-DCF9-D76B4D9885DC}"/>
                </a:ext>
              </a:extLst>
            </p:cNvPr>
            <p:cNvSpPr/>
            <p:nvPr/>
          </p:nvSpPr>
          <p:spPr>
            <a:xfrm>
              <a:off x="7156451" y="4338279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16B314F9-317A-6B79-6C29-F4FD5CF994D9}"/>
              </a:ext>
            </a:extLst>
          </p:cNvPr>
          <p:cNvGrpSpPr/>
          <p:nvPr/>
        </p:nvGrpSpPr>
        <p:grpSpPr>
          <a:xfrm>
            <a:off x="127555" y="1188563"/>
            <a:ext cx="1639974" cy="580772"/>
            <a:chOff x="6500855" y="3920591"/>
            <a:chExt cx="1639974" cy="580772"/>
          </a:xfrm>
        </p:grpSpPr>
        <p:sp>
          <p:nvSpPr>
            <p:cNvPr id="74" name="Google Shape;229;g370fc456c4b_0_4">
              <a:extLst>
                <a:ext uri="{FF2B5EF4-FFF2-40B4-BE49-F238E27FC236}">
                  <a16:creationId xmlns:a16="http://schemas.microsoft.com/office/drawing/2014/main" id="{B91927B4-B4F1-845B-D897-2D7B66A03A81}"/>
                </a:ext>
              </a:extLst>
            </p:cNvPr>
            <p:cNvSpPr/>
            <p:nvPr/>
          </p:nvSpPr>
          <p:spPr>
            <a:xfrm>
              <a:off x="6500855" y="4319647"/>
              <a:ext cx="732665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5" name="Google Shape;230;g370fc456c4b_0_4">
              <a:extLst>
                <a:ext uri="{FF2B5EF4-FFF2-40B4-BE49-F238E27FC236}">
                  <a16:creationId xmlns:a16="http://schemas.microsoft.com/office/drawing/2014/main" id="{574C6EDA-FB82-8E66-B4F8-29AD0FF8E817}"/>
                </a:ext>
              </a:extLst>
            </p:cNvPr>
            <p:cNvCxnSpPr>
              <a:cxnSpLocks/>
              <a:stCxn id="76" idx="2"/>
              <a:endCxn id="74" idx="3"/>
            </p:cNvCxnSpPr>
            <p:nvPr/>
          </p:nvCxnSpPr>
          <p:spPr>
            <a:xfrm flipH="1">
              <a:off x="7233520" y="4136911"/>
              <a:ext cx="504160" cy="27359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6" name="Rectangle: Rounded Corners 75">
              <a:extLst>
                <a:ext uri="{FF2B5EF4-FFF2-40B4-BE49-F238E27FC236}">
                  <a16:creationId xmlns:a16="http://schemas.microsoft.com/office/drawing/2014/main" id="{89F129ED-6836-7AFD-EB99-3B4A848B10C5}"/>
                </a:ext>
              </a:extLst>
            </p:cNvPr>
            <p:cNvSpPr/>
            <p:nvPr/>
          </p:nvSpPr>
          <p:spPr>
            <a:xfrm>
              <a:off x="7334530" y="3920591"/>
              <a:ext cx="806299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57618630-76D4-9746-EB82-4126E8801240}"/>
              </a:ext>
            </a:extLst>
          </p:cNvPr>
          <p:cNvGrpSpPr/>
          <p:nvPr/>
        </p:nvGrpSpPr>
        <p:grpSpPr>
          <a:xfrm>
            <a:off x="179892" y="2083476"/>
            <a:ext cx="1854229" cy="216320"/>
            <a:chOff x="6500854" y="4348810"/>
            <a:chExt cx="1854229" cy="216320"/>
          </a:xfrm>
        </p:grpSpPr>
        <p:sp>
          <p:nvSpPr>
            <p:cNvPr id="78" name="Google Shape;229;g370fc456c4b_0_4">
              <a:extLst>
                <a:ext uri="{FF2B5EF4-FFF2-40B4-BE49-F238E27FC236}">
                  <a16:creationId xmlns:a16="http://schemas.microsoft.com/office/drawing/2014/main" id="{D29BCBAE-E681-C5A4-5B81-E6AC40C5C277}"/>
                </a:ext>
              </a:extLst>
            </p:cNvPr>
            <p:cNvSpPr/>
            <p:nvPr/>
          </p:nvSpPr>
          <p:spPr>
            <a:xfrm>
              <a:off x="6500854" y="4355581"/>
              <a:ext cx="732665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9" name="Google Shape;230;g370fc456c4b_0_4">
              <a:extLst>
                <a:ext uri="{FF2B5EF4-FFF2-40B4-BE49-F238E27FC236}">
                  <a16:creationId xmlns:a16="http://schemas.microsoft.com/office/drawing/2014/main" id="{1E184EA2-BD73-2770-BBE9-CBE58D446BCD}"/>
                </a:ext>
              </a:extLst>
            </p:cNvPr>
            <p:cNvCxnSpPr>
              <a:cxnSpLocks/>
              <a:stCxn id="80" idx="1"/>
              <a:endCxn id="78" idx="3"/>
            </p:cNvCxnSpPr>
            <p:nvPr/>
          </p:nvCxnSpPr>
          <p:spPr>
            <a:xfrm flipH="1" flipV="1">
              <a:off x="7233519" y="4446439"/>
              <a:ext cx="315265" cy="1053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0" name="Rectangle: Rounded Corners 79">
              <a:extLst>
                <a:ext uri="{FF2B5EF4-FFF2-40B4-BE49-F238E27FC236}">
                  <a16:creationId xmlns:a16="http://schemas.microsoft.com/office/drawing/2014/main" id="{30E785CE-A030-877D-9116-AFD01ED256E6}"/>
                </a:ext>
              </a:extLst>
            </p:cNvPr>
            <p:cNvSpPr/>
            <p:nvPr/>
          </p:nvSpPr>
          <p:spPr>
            <a:xfrm>
              <a:off x="7548784" y="4348810"/>
              <a:ext cx="806299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4F2B6420-5A42-C5C1-AFE2-0B30FBEF6F89}"/>
              </a:ext>
            </a:extLst>
          </p:cNvPr>
          <p:cNvGrpSpPr/>
          <p:nvPr/>
        </p:nvGrpSpPr>
        <p:grpSpPr>
          <a:xfrm>
            <a:off x="37214" y="1575095"/>
            <a:ext cx="2952206" cy="3454182"/>
            <a:chOff x="3907161" y="1162883"/>
            <a:chExt cx="2952206" cy="3454182"/>
          </a:xfrm>
        </p:grpSpPr>
        <p:sp>
          <p:nvSpPr>
            <p:cNvPr id="82" name="Google Shape;229;g370fc456c4b_0_4">
              <a:extLst>
                <a:ext uri="{FF2B5EF4-FFF2-40B4-BE49-F238E27FC236}">
                  <a16:creationId xmlns:a16="http://schemas.microsoft.com/office/drawing/2014/main" id="{6D022503-FDD2-56CD-2496-81C2EC215BF4}"/>
                </a:ext>
              </a:extLst>
            </p:cNvPr>
            <p:cNvSpPr/>
            <p:nvPr/>
          </p:nvSpPr>
          <p:spPr>
            <a:xfrm>
              <a:off x="3907161" y="1578057"/>
              <a:ext cx="2142460" cy="303900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3" name="Google Shape;230;g370fc456c4b_0_4">
              <a:extLst>
                <a:ext uri="{FF2B5EF4-FFF2-40B4-BE49-F238E27FC236}">
                  <a16:creationId xmlns:a16="http://schemas.microsoft.com/office/drawing/2014/main" id="{E4E8EEC9-3929-6127-19B7-E555E6C6292D}"/>
                </a:ext>
              </a:extLst>
            </p:cNvPr>
            <p:cNvCxnSpPr>
              <a:cxnSpLocks/>
              <a:stCxn id="84" idx="1"/>
              <a:endCxn id="82" idx="0"/>
            </p:cNvCxnSpPr>
            <p:nvPr/>
          </p:nvCxnSpPr>
          <p:spPr>
            <a:xfrm flipH="1">
              <a:off x="4978391" y="1306619"/>
              <a:ext cx="1213395" cy="27143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4" name="Rectangle: Rounded Corners 83">
              <a:extLst>
                <a:ext uri="{FF2B5EF4-FFF2-40B4-BE49-F238E27FC236}">
                  <a16:creationId xmlns:a16="http://schemas.microsoft.com/office/drawing/2014/main" id="{690CEDD2-E08A-676D-B574-74F8854454EF}"/>
                </a:ext>
              </a:extLst>
            </p:cNvPr>
            <p:cNvSpPr/>
            <p:nvPr/>
          </p:nvSpPr>
          <p:spPr>
            <a:xfrm>
              <a:off x="6191786" y="1162883"/>
              <a:ext cx="66758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</a:t>
              </a:r>
              <a:endParaRPr lang="en-US" dirty="0"/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49C11012-F91F-1B8E-89D9-7B523304E8ED}"/>
              </a:ext>
            </a:extLst>
          </p:cNvPr>
          <p:cNvGrpSpPr/>
          <p:nvPr/>
        </p:nvGrpSpPr>
        <p:grpSpPr>
          <a:xfrm>
            <a:off x="204624" y="2021590"/>
            <a:ext cx="3538626" cy="661138"/>
            <a:chOff x="4056098" y="1615981"/>
            <a:chExt cx="3538626" cy="661138"/>
          </a:xfrm>
        </p:grpSpPr>
        <p:sp>
          <p:nvSpPr>
            <p:cNvPr id="86" name="Google Shape;229;g370fc456c4b_0_4">
              <a:extLst>
                <a:ext uri="{FF2B5EF4-FFF2-40B4-BE49-F238E27FC236}">
                  <a16:creationId xmlns:a16="http://schemas.microsoft.com/office/drawing/2014/main" id="{A79E5442-7A8C-6C67-2AE9-868EB088D8B8}"/>
                </a:ext>
              </a:extLst>
            </p:cNvPr>
            <p:cNvSpPr/>
            <p:nvPr/>
          </p:nvSpPr>
          <p:spPr>
            <a:xfrm>
              <a:off x="4056098" y="2003250"/>
              <a:ext cx="1422078" cy="27386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7" name="Google Shape;230;g370fc456c4b_0_4">
              <a:extLst>
                <a:ext uri="{FF2B5EF4-FFF2-40B4-BE49-F238E27FC236}">
                  <a16:creationId xmlns:a16="http://schemas.microsoft.com/office/drawing/2014/main" id="{13588F4D-A268-7F4A-36A2-0B85E9347D1C}"/>
                </a:ext>
              </a:extLst>
            </p:cNvPr>
            <p:cNvCxnSpPr>
              <a:cxnSpLocks/>
              <a:stCxn id="88" idx="1"/>
              <a:endCxn id="86" idx="3"/>
            </p:cNvCxnSpPr>
            <p:nvPr/>
          </p:nvCxnSpPr>
          <p:spPr>
            <a:xfrm flipH="1">
              <a:off x="5478176" y="1759717"/>
              <a:ext cx="1444170" cy="38046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3DD7F424-A676-C7DE-B294-432D610462AB}"/>
                </a:ext>
              </a:extLst>
            </p:cNvPr>
            <p:cNvSpPr/>
            <p:nvPr/>
          </p:nvSpPr>
          <p:spPr>
            <a:xfrm>
              <a:off x="6922346" y="1615981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abel</a:t>
              </a:r>
              <a:endParaRPr lang="en-US" dirty="0"/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F26DC216-0B36-ED52-460C-E0DFC3709867}"/>
              </a:ext>
            </a:extLst>
          </p:cNvPr>
          <p:cNvGrpSpPr/>
          <p:nvPr/>
        </p:nvGrpSpPr>
        <p:grpSpPr>
          <a:xfrm>
            <a:off x="7461264" y="1512982"/>
            <a:ext cx="2228950" cy="292287"/>
            <a:chOff x="2608510" y="1998436"/>
            <a:chExt cx="2228950" cy="292287"/>
          </a:xfrm>
        </p:grpSpPr>
        <p:sp>
          <p:nvSpPr>
            <p:cNvPr id="90" name="Google Shape;229;g370fc456c4b_0_4">
              <a:extLst>
                <a:ext uri="{FF2B5EF4-FFF2-40B4-BE49-F238E27FC236}">
                  <a16:creationId xmlns:a16="http://schemas.microsoft.com/office/drawing/2014/main" id="{74C4B0AD-A059-B658-7DA7-455AC361CD50}"/>
                </a:ext>
              </a:extLst>
            </p:cNvPr>
            <p:cNvSpPr/>
            <p:nvPr/>
          </p:nvSpPr>
          <p:spPr>
            <a:xfrm>
              <a:off x="4056098" y="2003250"/>
              <a:ext cx="781362" cy="28747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1" name="Google Shape;230;g370fc456c4b_0_4">
              <a:extLst>
                <a:ext uri="{FF2B5EF4-FFF2-40B4-BE49-F238E27FC236}">
                  <a16:creationId xmlns:a16="http://schemas.microsoft.com/office/drawing/2014/main" id="{8F01E833-DCA4-8AA6-7D73-A42E4E7233CA}"/>
                </a:ext>
              </a:extLst>
            </p:cNvPr>
            <p:cNvCxnSpPr>
              <a:cxnSpLocks/>
              <a:endCxn id="90" idx="1"/>
            </p:cNvCxnSpPr>
            <p:nvPr/>
          </p:nvCxnSpPr>
          <p:spPr>
            <a:xfrm>
              <a:off x="3578931" y="2146987"/>
              <a:ext cx="47716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814B028A-F4BD-6C03-7D20-549CADB27C9E}"/>
                </a:ext>
              </a:extLst>
            </p:cNvPr>
            <p:cNvSpPr/>
            <p:nvPr/>
          </p:nvSpPr>
          <p:spPr>
            <a:xfrm>
              <a:off x="2608510" y="1998436"/>
              <a:ext cx="94342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D28FF3B1-24CE-5AC6-A3AD-7094D63924E6}"/>
              </a:ext>
            </a:extLst>
          </p:cNvPr>
          <p:cNvGrpSpPr/>
          <p:nvPr/>
        </p:nvGrpSpPr>
        <p:grpSpPr>
          <a:xfrm>
            <a:off x="4689823" y="3155931"/>
            <a:ext cx="3092897" cy="559486"/>
            <a:chOff x="4056098" y="2054710"/>
            <a:chExt cx="3092897" cy="559486"/>
          </a:xfrm>
        </p:grpSpPr>
        <p:sp>
          <p:nvSpPr>
            <p:cNvPr id="94" name="Google Shape;229;g370fc456c4b_0_4">
              <a:extLst>
                <a:ext uri="{FF2B5EF4-FFF2-40B4-BE49-F238E27FC236}">
                  <a16:creationId xmlns:a16="http://schemas.microsoft.com/office/drawing/2014/main" id="{F58EAA37-BE28-82BC-A265-D6E7AE8A0B47}"/>
                </a:ext>
              </a:extLst>
            </p:cNvPr>
            <p:cNvSpPr/>
            <p:nvPr/>
          </p:nvSpPr>
          <p:spPr>
            <a:xfrm>
              <a:off x="4056098" y="2054710"/>
              <a:ext cx="315849" cy="17856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5" name="Google Shape;230;g370fc456c4b_0_4">
              <a:extLst>
                <a:ext uri="{FF2B5EF4-FFF2-40B4-BE49-F238E27FC236}">
                  <a16:creationId xmlns:a16="http://schemas.microsoft.com/office/drawing/2014/main" id="{E42BCE84-E747-D4E9-73A0-CC0286DB5CC0}"/>
                </a:ext>
              </a:extLst>
            </p:cNvPr>
            <p:cNvCxnSpPr>
              <a:cxnSpLocks/>
              <a:stCxn id="96" idx="1"/>
              <a:endCxn id="94" idx="3"/>
            </p:cNvCxnSpPr>
            <p:nvPr/>
          </p:nvCxnSpPr>
          <p:spPr>
            <a:xfrm flipH="1" flipV="1">
              <a:off x="4371947" y="2143991"/>
              <a:ext cx="1760223" cy="32646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9F476955-5F47-8CE0-C76E-AEFD789F6A87}"/>
                </a:ext>
              </a:extLst>
            </p:cNvPr>
            <p:cNvSpPr/>
            <p:nvPr/>
          </p:nvSpPr>
          <p:spPr>
            <a:xfrm>
              <a:off x="6132170" y="2326724"/>
              <a:ext cx="101682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ment</a:t>
              </a:r>
              <a:endParaRPr lang="en-US" dirty="0"/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52CE56E9-ED2D-9822-D300-5B5FB65239B0}"/>
              </a:ext>
            </a:extLst>
          </p:cNvPr>
          <p:cNvGrpSpPr/>
          <p:nvPr/>
        </p:nvGrpSpPr>
        <p:grpSpPr>
          <a:xfrm>
            <a:off x="5053054" y="3959548"/>
            <a:ext cx="2692968" cy="785743"/>
            <a:chOff x="4104304" y="1520985"/>
            <a:chExt cx="2692968" cy="785743"/>
          </a:xfrm>
        </p:grpSpPr>
        <p:sp>
          <p:nvSpPr>
            <p:cNvPr id="98" name="Google Shape;229;g370fc456c4b_0_4">
              <a:extLst>
                <a:ext uri="{FF2B5EF4-FFF2-40B4-BE49-F238E27FC236}">
                  <a16:creationId xmlns:a16="http://schemas.microsoft.com/office/drawing/2014/main" id="{0E435FC6-B906-99FF-BABC-816BB1DD2FCB}"/>
                </a:ext>
              </a:extLst>
            </p:cNvPr>
            <p:cNvSpPr/>
            <p:nvPr/>
          </p:nvSpPr>
          <p:spPr>
            <a:xfrm>
              <a:off x="4104304" y="2139750"/>
              <a:ext cx="298473" cy="16697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9" name="Google Shape;230;g370fc456c4b_0_4">
              <a:extLst>
                <a:ext uri="{FF2B5EF4-FFF2-40B4-BE49-F238E27FC236}">
                  <a16:creationId xmlns:a16="http://schemas.microsoft.com/office/drawing/2014/main" id="{1A2D5134-06AE-364C-93F3-78188A4FB196}"/>
                </a:ext>
              </a:extLst>
            </p:cNvPr>
            <p:cNvCxnSpPr>
              <a:cxnSpLocks/>
              <a:stCxn id="100" idx="1"/>
              <a:endCxn id="98" idx="0"/>
            </p:cNvCxnSpPr>
            <p:nvPr/>
          </p:nvCxnSpPr>
          <p:spPr>
            <a:xfrm flipH="1">
              <a:off x="4253541" y="1664721"/>
              <a:ext cx="1600304" cy="47502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316F16C7-71D8-B87A-1847-075ABD8C8454}"/>
                </a:ext>
              </a:extLst>
            </p:cNvPr>
            <p:cNvSpPr/>
            <p:nvPr/>
          </p:nvSpPr>
          <p:spPr>
            <a:xfrm>
              <a:off x="5853845" y="1520985"/>
              <a:ext cx="94342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</a:t>
              </a:r>
              <a:endParaRPr lang="en-US" dirty="0"/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21991D6-3025-0F61-AEFA-7DD932A42C52}"/>
              </a:ext>
            </a:extLst>
          </p:cNvPr>
          <p:cNvGrpSpPr/>
          <p:nvPr/>
        </p:nvGrpSpPr>
        <p:grpSpPr>
          <a:xfrm>
            <a:off x="11569349" y="1131427"/>
            <a:ext cx="580244" cy="958820"/>
            <a:chOff x="3732280" y="1979284"/>
            <a:chExt cx="580244" cy="958820"/>
          </a:xfrm>
        </p:grpSpPr>
        <p:sp>
          <p:nvSpPr>
            <p:cNvPr id="102" name="Google Shape;229;g370fc456c4b_0_4">
              <a:extLst>
                <a:ext uri="{FF2B5EF4-FFF2-40B4-BE49-F238E27FC236}">
                  <a16:creationId xmlns:a16="http://schemas.microsoft.com/office/drawing/2014/main" id="{27E4F0BD-EBC8-5320-0028-1718F64F4B5D}"/>
                </a:ext>
              </a:extLst>
            </p:cNvPr>
            <p:cNvSpPr/>
            <p:nvPr/>
          </p:nvSpPr>
          <p:spPr>
            <a:xfrm>
              <a:off x="4105790" y="1979284"/>
              <a:ext cx="206734" cy="21631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3" name="Google Shape;230;g370fc456c4b_0_4">
              <a:extLst>
                <a:ext uri="{FF2B5EF4-FFF2-40B4-BE49-F238E27FC236}">
                  <a16:creationId xmlns:a16="http://schemas.microsoft.com/office/drawing/2014/main" id="{FAECE26B-DEBD-97E3-5C2A-B34BDDD025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60764" y="2195603"/>
              <a:ext cx="166612" cy="45270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4" name="Rectangle: Rounded Corners 103">
              <a:extLst>
                <a:ext uri="{FF2B5EF4-FFF2-40B4-BE49-F238E27FC236}">
                  <a16:creationId xmlns:a16="http://schemas.microsoft.com/office/drawing/2014/main" id="{156AB620-7622-60DE-8A13-9437394DB012}"/>
                </a:ext>
              </a:extLst>
            </p:cNvPr>
            <p:cNvSpPr/>
            <p:nvPr/>
          </p:nvSpPr>
          <p:spPr>
            <a:xfrm>
              <a:off x="3732280" y="2650632"/>
              <a:ext cx="58024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B5CE217-2B84-F053-0AE0-D8E72D3DD8B6}"/>
              </a:ext>
            </a:extLst>
          </p:cNvPr>
          <p:cNvGrpSpPr/>
          <p:nvPr/>
        </p:nvGrpSpPr>
        <p:grpSpPr>
          <a:xfrm>
            <a:off x="5458504" y="4387901"/>
            <a:ext cx="2110574" cy="357210"/>
            <a:chOff x="6549987" y="3471331"/>
            <a:chExt cx="2110574" cy="357210"/>
          </a:xfrm>
        </p:grpSpPr>
        <p:sp>
          <p:nvSpPr>
            <p:cNvPr id="106" name="Google Shape;229;g370fc456c4b_0_4">
              <a:extLst>
                <a:ext uri="{FF2B5EF4-FFF2-40B4-BE49-F238E27FC236}">
                  <a16:creationId xmlns:a16="http://schemas.microsoft.com/office/drawing/2014/main" id="{4768C1A2-F8A5-FE5A-D2F3-9B56A536C56C}"/>
                </a:ext>
              </a:extLst>
            </p:cNvPr>
            <p:cNvSpPr/>
            <p:nvPr/>
          </p:nvSpPr>
          <p:spPr>
            <a:xfrm>
              <a:off x="6549987" y="3661563"/>
              <a:ext cx="159026" cy="16697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7" name="Google Shape;230;g370fc456c4b_0_4">
              <a:extLst>
                <a:ext uri="{FF2B5EF4-FFF2-40B4-BE49-F238E27FC236}">
                  <a16:creationId xmlns:a16="http://schemas.microsoft.com/office/drawing/2014/main" id="{D7AA7F14-A476-A3A8-A72C-9E4575715E8D}"/>
                </a:ext>
              </a:extLst>
            </p:cNvPr>
            <p:cNvCxnSpPr>
              <a:cxnSpLocks/>
              <a:stCxn id="108" idx="1"/>
              <a:endCxn id="106" idx="3"/>
            </p:cNvCxnSpPr>
            <p:nvPr/>
          </p:nvCxnSpPr>
          <p:spPr>
            <a:xfrm flipH="1">
              <a:off x="6709013" y="3579491"/>
              <a:ext cx="1185065" cy="16556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7210B5D4-AF84-D53E-52A9-9A9CC7AA322C}"/>
                </a:ext>
              </a:extLst>
            </p:cNvPr>
            <p:cNvSpPr/>
            <p:nvPr/>
          </p:nvSpPr>
          <p:spPr>
            <a:xfrm>
              <a:off x="7894078" y="3471331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cati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15AF899B-4F73-1CEB-C644-7C125395EC75}"/>
              </a:ext>
            </a:extLst>
          </p:cNvPr>
          <p:cNvGrpSpPr/>
          <p:nvPr/>
        </p:nvGrpSpPr>
        <p:grpSpPr>
          <a:xfrm>
            <a:off x="3490971" y="4349524"/>
            <a:ext cx="1337995" cy="216320"/>
            <a:chOff x="4734833" y="3401314"/>
            <a:chExt cx="1337995" cy="216320"/>
          </a:xfrm>
        </p:grpSpPr>
        <p:sp>
          <p:nvSpPr>
            <p:cNvPr id="110" name="Google Shape;229;g370fc456c4b_0_4">
              <a:extLst>
                <a:ext uri="{FF2B5EF4-FFF2-40B4-BE49-F238E27FC236}">
                  <a16:creationId xmlns:a16="http://schemas.microsoft.com/office/drawing/2014/main" id="{5BF7BDA2-5A33-9676-72A1-C3EAFC017474}"/>
                </a:ext>
              </a:extLst>
            </p:cNvPr>
            <p:cNvSpPr/>
            <p:nvPr/>
          </p:nvSpPr>
          <p:spPr>
            <a:xfrm>
              <a:off x="5933685" y="3442705"/>
              <a:ext cx="139143" cy="12455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1" name="Google Shape;230;g370fc456c4b_0_4">
              <a:extLst>
                <a:ext uri="{FF2B5EF4-FFF2-40B4-BE49-F238E27FC236}">
                  <a16:creationId xmlns:a16="http://schemas.microsoft.com/office/drawing/2014/main" id="{4408B703-D5AF-CB44-E74C-8F7A042C0F28}"/>
                </a:ext>
              </a:extLst>
            </p:cNvPr>
            <p:cNvCxnSpPr>
              <a:cxnSpLocks/>
              <a:stCxn id="112" idx="3"/>
              <a:endCxn id="110" idx="1"/>
            </p:cNvCxnSpPr>
            <p:nvPr/>
          </p:nvCxnSpPr>
          <p:spPr>
            <a:xfrm flipV="1">
              <a:off x="5630597" y="3504983"/>
              <a:ext cx="303088" cy="449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2" name="Rectangle: Rounded Corners 111">
              <a:extLst>
                <a:ext uri="{FF2B5EF4-FFF2-40B4-BE49-F238E27FC236}">
                  <a16:creationId xmlns:a16="http://schemas.microsoft.com/office/drawing/2014/main" id="{2DF0A326-E054-AC79-8D64-927EC4ED0BB1}"/>
                </a:ext>
              </a:extLst>
            </p:cNvPr>
            <p:cNvSpPr/>
            <p:nvPr/>
          </p:nvSpPr>
          <p:spPr>
            <a:xfrm>
              <a:off x="4734833" y="3401314"/>
              <a:ext cx="895764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Complet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1D3F438F-468B-7A5C-C97E-4A4568D81DEA}"/>
              </a:ext>
            </a:extLst>
          </p:cNvPr>
          <p:cNvGrpSpPr/>
          <p:nvPr/>
        </p:nvGrpSpPr>
        <p:grpSpPr>
          <a:xfrm>
            <a:off x="5315385" y="4747957"/>
            <a:ext cx="2734935" cy="287472"/>
            <a:chOff x="4130148" y="2092580"/>
            <a:chExt cx="2734935" cy="287472"/>
          </a:xfrm>
        </p:grpSpPr>
        <p:sp>
          <p:nvSpPr>
            <p:cNvPr id="114" name="Google Shape;229;g370fc456c4b_0_4">
              <a:extLst>
                <a:ext uri="{FF2B5EF4-FFF2-40B4-BE49-F238E27FC236}">
                  <a16:creationId xmlns:a16="http://schemas.microsoft.com/office/drawing/2014/main" id="{DB95DCA1-F9C0-4624-2C20-6AB8A9B6BDB9}"/>
                </a:ext>
              </a:extLst>
            </p:cNvPr>
            <p:cNvSpPr/>
            <p:nvPr/>
          </p:nvSpPr>
          <p:spPr>
            <a:xfrm>
              <a:off x="4130148" y="2139749"/>
              <a:ext cx="389977" cy="1817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5" name="Google Shape;230;g370fc456c4b_0_4">
              <a:extLst>
                <a:ext uri="{FF2B5EF4-FFF2-40B4-BE49-F238E27FC236}">
                  <a16:creationId xmlns:a16="http://schemas.microsoft.com/office/drawing/2014/main" id="{7960A1D8-DF2D-CB1B-12A2-19C0024AC07B}"/>
                </a:ext>
              </a:extLst>
            </p:cNvPr>
            <p:cNvCxnSpPr>
              <a:cxnSpLocks/>
              <a:stCxn id="116" idx="1"/>
              <a:endCxn id="114" idx="3"/>
            </p:cNvCxnSpPr>
            <p:nvPr/>
          </p:nvCxnSpPr>
          <p:spPr>
            <a:xfrm flipH="1" flipV="1">
              <a:off x="4520125" y="2230607"/>
              <a:ext cx="1106448" cy="570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D5A87A3E-DC39-C71F-FDF5-77910605BF23}"/>
                </a:ext>
              </a:extLst>
            </p:cNvPr>
            <p:cNvSpPr/>
            <p:nvPr/>
          </p:nvSpPr>
          <p:spPr>
            <a:xfrm>
              <a:off x="5626573" y="2092580"/>
              <a:ext cx="123851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Value</a:t>
              </a:r>
              <a:endParaRPr lang="en-US" dirty="0"/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B1C57EA3-8AD7-C9FD-4B23-009DC08F0FAA}"/>
              </a:ext>
            </a:extLst>
          </p:cNvPr>
          <p:cNvGrpSpPr/>
          <p:nvPr/>
        </p:nvGrpSpPr>
        <p:grpSpPr>
          <a:xfrm>
            <a:off x="3138532" y="4728986"/>
            <a:ext cx="2176853" cy="287472"/>
            <a:chOff x="2371005" y="2642580"/>
            <a:chExt cx="2176853" cy="287472"/>
          </a:xfrm>
        </p:grpSpPr>
        <p:sp>
          <p:nvSpPr>
            <p:cNvPr id="118" name="Google Shape;229;g370fc456c4b_0_4">
              <a:extLst>
                <a:ext uri="{FF2B5EF4-FFF2-40B4-BE49-F238E27FC236}">
                  <a16:creationId xmlns:a16="http://schemas.microsoft.com/office/drawing/2014/main" id="{5110F1A3-58DC-CB39-20E8-3317CB8B2E43}"/>
                </a:ext>
              </a:extLst>
            </p:cNvPr>
            <p:cNvSpPr/>
            <p:nvPr/>
          </p:nvSpPr>
          <p:spPr>
            <a:xfrm>
              <a:off x="3922296" y="2703446"/>
              <a:ext cx="625562" cy="1817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9" name="Google Shape;230;g370fc456c4b_0_4">
              <a:extLst>
                <a:ext uri="{FF2B5EF4-FFF2-40B4-BE49-F238E27FC236}">
                  <a16:creationId xmlns:a16="http://schemas.microsoft.com/office/drawing/2014/main" id="{A6E47532-7112-4011-E68B-D4BB561F0182}"/>
                </a:ext>
              </a:extLst>
            </p:cNvPr>
            <p:cNvCxnSpPr>
              <a:cxnSpLocks/>
              <a:stCxn id="120" idx="3"/>
              <a:endCxn id="118" idx="1"/>
            </p:cNvCxnSpPr>
            <p:nvPr/>
          </p:nvCxnSpPr>
          <p:spPr>
            <a:xfrm>
              <a:off x="3609515" y="2786316"/>
              <a:ext cx="312781" cy="798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0" name="Rectangle: Rounded Corners 119">
              <a:extLst>
                <a:ext uri="{FF2B5EF4-FFF2-40B4-BE49-F238E27FC236}">
                  <a16:creationId xmlns:a16="http://schemas.microsoft.com/office/drawing/2014/main" id="{7782E5B0-6EB0-1DF3-5BDB-960F717EE643}"/>
                </a:ext>
              </a:extLst>
            </p:cNvPr>
            <p:cNvSpPr/>
            <p:nvPr/>
          </p:nvSpPr>
          <p:spPr>
            <a:xfrm>
              <a:off x="2371005" y="2642580"/>
              <a:ext cx="123851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ustomField</a:t>
              </a:r>
              <a:endParaRPr lang="en-US" dirty="0"/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AF6665F-0CDD-F47D-D49F-D5BC29860EE9}"/>
              </a:ext>
            </a:extLst>
          </p:cNvPr>
          <p:cNvGrpSpPr/>
          <p:nvPr/>
        </p:nvGrpSpPr>
        <p:grpSpPr>
          <a:xfrm>
            <a:off x="9950884" y="1098001"/>
            <a:ext cx="1697082" cy="992246"/>
            <a:chOff x="2678210" y="1945858"/>
            <a:chExt cx="1697082" cy="992246"/>
          </a:xfrm>
        </p:grpSpPr>
        <p:sp>
          <p:nvSpPr>
            <p:cNvPr id="122" name="Google Shape;229;g370fc456c4b_0_4">
              <a:extLst>
                <a:ext uri="{FF2B5EF4-FFF2-40B4-BE49-F238E27FC236}">
                  <a16:creationId xmlns:a16="http://schemas.microsoft.com/office/drawing/2014/main" id="{371BD6BF-642C-5EC9-D787-467F8F2693CE}"/>
                </a:ext>
              </a:extLst>
            </p:cNvPr>
            <p:cNvSpPr/>
            <p:nvPr/>
          </p:nvSpPr>
          <p:spPr>
            <a:xfrm>
              <a:off x="4105789" y="1945858"/>
              <a:ext cx="269503" cy="2497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3" name="Google Shape;230;g370fc456c4b_0_4">
              <a:extLst>
                <a:ext uri="{FF2B5EF4-FFF2-40B4-BE49-F238E27FC236}">
                  <a16:creationId xmlns:a16="http://schemas.microsoft.com/office/drawing/2014/main" id="{830FC07B-5023-F204-E547-1CC01DD8FB9E}"/>
                </a:ext>
              </a:extLst>
            </p:cNvPr>
            <p:cNvCxnSpPr>
              <a:cxnSpLocks/>
              <a:stCxn id="124" idx="0"/>
            </p:cNvCxnSpPr>
            <p:nvPr/>
          </p:nvCxnSpPr>
          <p:spPr>
            <a:xfrm flipV="1">
              <a:off x="3284908" y="2195603"/>
              <a:ext cx="942468" cy="45502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4" name="Rectangle: Rounded Corners 123">
              <a:extLst>
                <a:ext uri="{FF2B5EF4-FFF2-40B4-BE49-F238E27FC236}">
                  <a16:creationId xmlns:a16="http://schemas.microsoft.com/office/drawing/2014/main" id="{A09DF973-2BAC-46A8-B577-8FA55E4D1D86}"/>
                </a:ext>
              </a:extLst>
            </p:cNvPr>
            <p:cNvSpPr/>
            <p:nvPr/>
          </p:nvSpPr>
          <p:spPr>
            <a:xfrm>
              <a:off x="2678210" y="2650632"/>
              <a:ext cx="121339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otification</a:t>
              </a:r>
              <a:endParaRPr lang="en-US" dirty="0"/>
            </a:p>
          </p:txBody>
        </p:sp>
      </p:grpSp>
      <p:pic>
        <p:nvPicPr>
          <p:cNvPr id="136" name="Picture 135">
            <a:extLst>
              <a:ext uri="{FF2B5EF4-FFF2-40B4-BE49-F238E27FC236}">
                <a16:creationId xmlns:a16="http://schemas.microsoft.com/office/drawing/2014/main" id="{9F949B20-9757-D0D5-51B4-0FD0D8E554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31670" y="2140054"/>
            <a:ext cx="2214025" cy="1792306"/>
          </a:xfrm>
          <a:prstGeom prst="rect">
            <a:avLst/>
          </a:prstGeom>
        </p:spPr>
      </p:pic>
      <p:grpSp>
        <p:nvGrpSpPr>
          <p:cNvPr id="137" name="Group 136">
            <a:extLst>
              <a:ext uri="{FF2B5EF4-FFF2-40B4-BE49-F238E27FC236}">
                <a16:creationId xmlns:a16="http://schemas.microsoft.com/office/drawing/2014/main" id="{AF513D13-FF20-EB9F-F5CB-16A09849682F}"/>
              </a:ext>
            </a:extLst>
          </p:cNvPr>
          <p:cNvGrpSpPr/>
          <p:nvPr/>
        </p:nvGrpSpPr>
        <p:grpSpPr>
          <a:xfrm>
            <a:off x="7891111" y="3034541"/>
            <a:ext cx="2110574" cy="1311653"/>
            <a:chOff x="6549987" y="3661563"/>
            <a:chExt cx="2110574" cy="1311653"/>
          </a:xfrm>
        </p:grpSpPr>
        <p:sp>
          <p:nvSpPr>
            <p:cNvPr id="138" name="Google Shape;229;g370fc456c4b_0_4">
              <a:extLst>
                <a:ext uri="{FF2B5EF4-FFF2-40B4-BE49-F238E27FC236}">
                  <a16:creationId xmlns:a16="http://schemas.microsoft.com/office/drawing/2014/main" id="{E056CDAF-5646-C741-F461-D20FC780C674}"/>
                </a:ext>
              </a:extLst>
            </p:cNvPr>
            <p:cNvSpPr/>
            <p:nvPr/>
          </p:nvSpPr>
          <p:spPr>
            <a:xfrm>
              <a:off x="6549987" y="3661563"/>
              <a:ext cx="2110574" cy="56373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9" name="Google Shape;230;g370fc456c4b_0_4">
              <a:extLst>
                <a:ext uri="{FF2B5EF4-FFF2-40B4-BE49-F238E27FC236}">
                  <a16:creationId xmlns:a16="http://schemas.microsoft.com/office/drawing/2014/main" id="{7A776CDB-A2E8-4CA9-8130-5AC542566D17}"/>
                </a:ext>
              </a:extLst>
            </p:cNvPr>
            <p:cNvCxnSpPr>
              <a:cxnSpLocks/>
              <a:endCxn id="138" idx="2"/>
            </p:cNvCxnSpPr>
            <p:nvPr/>
          </p:nvCxnSpPr>
          <p:spPr>
            <a:xfrm flipV="1">
              <a:off x="7605274" y="4225293"/>
              <a:ext cx="0" cy="53160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0" name="Rectangle: Rounded Corners 139">
              <a:extLst>
                <a:ext uri="{FF2B5EF4-FFF2-40B4-BE49-F238E27FC236}">
                  <a16:creationId xmlns:a16="http://schemas.microsoft.com/office/drawing/2014/main" id="{5445332B-65BA-7F0D-63B5-98EAE6FC9194}"/>
                </a:ext>
              </a:extLst>
            </p:cNvPr>
            <p:cNvSpPr/>
            <p:nvPr/>
          </p:nvSpPr>
          <p:spPr>
            <a:xfrm>
              <a:off x="7222032" y="4756896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ositi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pic>
        <p:nvPicPr>
          <p:cNvPr id="155" name="Picture 154">
            <a:extLst>
              <a:ext uri="{FF2B5EF4-FFF2-40B4-BE49-F238E27FC236}">
                <a16:creationId xmlns:a16="http://schemas.microsoft.com/office/drawing/2014/main" id="{0DADCB76-2B11-1F05-1EDE-5A03460B04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25696" y="2140054"/>
            <a:ext cx="2101499" cy="2915172"/>
          </a:xfrm>
          <a:prstGeom prst="rect">
            <a:avLst/>
          </a:prstGeom>
        </p:spPr>
      </p:pic>
      <p:grpSp>
        <p:nvGrpSpPr>
          <p:cNvPr id="156" name="Group 155">
            <a:extLst>
              <a:ext uri="{FF2B5EF4-FFF2-40B4-BE49-F238E27FC236}">
                <a16:creationId xmlns:a16="http://schemas.microsoft.com/office/drawing/2014/main" id="{C339E645-9479-FDE0-37E1-E8E365837CE2}"/>
              </a:ext>
            </a:extLst>
          </p:cNvPr>
          <p:cNvGrpSpPr/>
          <p:nvPr/>
        </p:nvGrpSpPr>
        <p:grpSpPr>
          <a:xfrm>
            <a:off x="10001685" y="3875036"/>
            <a:ext cx="2110573" cy="1992224"/>
            <a:chOff x="4031520" y="1890959"/>
            <a:chExt cx="2110573" cy="1992224"/>
          </a:xfrm>
        </p:grpSpPr>
        <p:sp>
          <p:nvSpPr>
            <p:cNvPr id="157" name="Google Shape;229;g370fc456c4b_0_4">
              <a:extLst>
                <a:ext uri="{FF2B5EF4-FFF2-40B4-BE49-F238E27FC236}">
                  <a16:creationId xmlns:a16="http://schemas.microsoft.com/office/drawing/2014/main" id="{D08B3E51-8516-550F-5D74-7FD516D588A4}"/>
                </a:ext>
              </a:extLst>
            </p:cNvPr>
            <p:cNvSpPr/>
            <p:nvPr/>
          </p:nvSpPr>
          <p:spPr>
            <a:xfrm>
              <a:off x="4031520" y="1890959"/>
              <a:ext cx="2110573" cy="87007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8" name="Google Shape;230;g370fc456c4b_0_4">
              <a:extLst>
                <a:ext uri="{FF2B5EF4-FFF2-40B4-BE49-F238E27FC236}">
                  <a16:creationId xmlns:a16="http://schemas.microsoft.com/office/drawing/2014/main" id="{8CE8CD91-6794-4F86-2A8B-03BE39412BC7}"/>
                </a:ext>
              </a:extLst>
            </p:cNvPr>
            <p:cNvCxnSpPr>
              <a:cxnSpLocks/>
              <a:stCxn id="159" idx="0"/>
            </p:cNvCxnSpPr>
            <p:nvPr/>
          </p:nvCxnSpPr>
          <p:spPr>
            <a:xfrm flipV="1">
              <a:off x="5058651" y="2761034"/>
              <a:ext cx="0" cy="83467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9" name="Rectangle: Rounded Corners 158">
              <a:extLst>
                <a:ext uri="{FF2B5EF4-FFF2-40B4-BE49-F238E27FC236}">
                  <a16:creationId xmlns:a16="http://schemas.microsoft.com/office/drawing/2014/main" id="{7EAD23B9-2934-282D-BF3F-663B076B3943}"/>
                </a:ext>
              </a:extLst>
            </p:cNvPr>
            <p:cNvSpPr/>
            <p:nvPr/>
          </p:nvSpPr>
          <p:spPr>
            <a:xfrm>
              <a:off x="4726482" y="3595711"/>
              <a:ext cx="66433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or</a:t>
              </a:r>
              <a:endParaRPr lang="en-US" dirty="0"/>
            </a:p>
          </p:txBody>
        </p:sp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5BFB681D-A685-0E9E-6D31-634A6B1B8029}"/>
              </a:ext>
            </a:extLst>
          </p:cNvPr>
          <p:cNvGrpSpPr/>
          <p:nvPr/>
        </p:nvGrpSpPr>
        <p:grpSpPr>
          <a:xfrm>
            <a:off x="9894909" y="4410880"/>
            <a:ext cx="470535" cy="953652"/>
            <a:chOff x="7881740" y="2680543"/>
            <a:chExt cx="470535" cy="953652"/>
          </a:xfrm>
        </p:grpSpPr>
        <p:sp>
          <p:nvSpPr>
            <p:cNvPr id="163" name="Google Shape;229;g370fc456c4b_0_4">
              <a:extLst>
                <a:ext uri="{FF2B5EF4-FFF2-40B4-BE49-F238E27FC236}">
                  <a16:creationId xmlns:a16="http://schemas.microsoft.com/office/drawing/2014/main" id="{64C27259-DF04-6C40-0772-0125E456A910}"/>
                </a:ext>
              </a:extLst>
            </p:cNvPr>
            <p:cNvSpPr/>
            <p:nvPr/>
          </p:nvSpPr>
          <p:spPr>
            <a:xfrm>
              <a:off x="8032526" y="2680543"/>
              <a:ext cx="168965" cy="25074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4" name="Google Shape;230;g370fc456c4b_0_4">
              <a:extLst>
                <a:ext uri="{FF2B5EF4-FFF2-40B4-BE49-F238E27FC236}">
                  <a16:creationId xmlns:a16="http://schemas.microsoft.com/office/drawing/2014/main" id="{E25C7A45-2C71-F9FE-485B-80AD5533E3BF}"/>
                </a:ext>
              </a:extLst>
            </p:cNvPr>
            <p:cNvCxnSpPr>
              <a:cxnSpLocks/>
              <a:endCxn id="163" idx="2"/>
            </p:cNvCxnSpPr>
            <p:nvPr/>
          </p:nvCxnSpPr>
          <p:spPr>
            <a:xfrm flipV="1">
              <a:off x="8117009" y="2931285"/>
              <a:ext cx="0" cy="48659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5" name="Rectangle: Rounded Corners 164">
              <a:extLst>
                <a:ext uri="{FF2B5EF4-FFF2-40B4-BE49-F238E27FC236}">
                  <a16:creationId xmlns:a16="http://schemas.microsoft.com/office/drawing/2014/main" id="{88C56B0E-89B9-9FBD-18D0-576E37A4D23C}"/>
                </a:ext>
              </a:extLst>
            </p:cNvPr>
            <p:cNvSpPr/>
            <p:nvPr/>
          </p:nvSpPr>
          <p:spPr>
            <a:xfrm>
              <a:off x="7881740" y="3417875"/>
              <a:ext cx="470535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c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CF003423-2456-B20A-0F67-9DB9858FE5D4}"/>
              </a:ext>
            </a:extLst>
          </p:cNvPr>
          <p:cNvGrpSpPr/>
          <p:nvPr/>
        </p:nvGrpSpPr>
        <p:grpSpPr>
          <a:xfrm>
            <a:off x="11184995" y="4403883"/>
            <a:ext cx="757864" cy="958659"/>
            <a:chOff x="7732654" y="2680543"/>
            <a:chExt cx="757864" cy="958659"/>
          </a:xfrm>
        </p:grpSpPr>
        <p:sp>
          <p:nvSpPr>
            <p:cNvPr id="181" name="Google Shape;229;g370fc456c4b_0_4">
              <a:extLst>
                <a:ext uri="{FF2B5EF4-FFF2-40B4-BE49-F238E27FC236}">
                  <a16:creationId xmlns:a16="http://schemas.microsoft.com/office/drawing/2014/main" id="{D0A5FE13-8033-EF6C-12C4-1AA270B373FA}"/>
                </a:ext>
              </a:extLst>
            </p:cNvPr>
            <p:cNvSpPr/>
            <p:nvPr/>
          </p:nvSpPr>
          <p:spPr>
            <a:xfrm>
              <a:off x="8032526" y="2680543"/>
              <a:ext cx="168965" cy="25074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2" name="Google Shape;230;g370fc456c4b_0_4">
              <a:extLst>
                <a:ext uri="{FF2B5EF4-FFF2-40B4-BE49-F238E27FC236}">
                  <a16:creationId xmlns:a16="http://schemas.microsoft.com/office/drawing/2014/main" id="{D27C563F-C398-A877-EB3D-29FBC7CD89E1}"/>
                </a:ext>
              </a:extLst>
            </p:cNvPr>
            <p:cNvCxnSpPr>
              <a:cxnSpLocks/>
              <a:endCxn id="181" idx="2"/>
            </p:cNvCxnSpPr>
            <p:nvPr/>
          </p:nvCxnSpPr>
          <p:spPr>
            <a:xfrm flipV="1">
              <a:off x="8117009" y="2931285"/>
              <a:ext cx="0" cy="48659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3" name="Rectangle: Rounded Corners 182">
              <a:extLst>
                <a:ext uri="{FF2B5EF4-FFF2-40B4-BE49-F238E27FC236}">
                  <a16:creationId xmlns:a16="http://schemas.microsoft.com/office/drawing/2014/main" id="{51DAA871-715C-70D5-A5C9-128C61A7751E}"/>
                </a:ext>
              </a:extLst>
            </p:cNvPr>
            <p:cNvSpPr/>
            <p:nvPr/>
          </p:nvSpPr>
          <p:spPr>
            <a:xfrm>
              <a:off x="7732654" y="3422882"/>
              <a:ext cx="757864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orHex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6080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2BF4EEF-2DF9-41C3-7792-A6A746335167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F530952-2482-74AC-D2D9-CC99D4037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IN TRELLO SYSTEM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FE4C7E-7CEC-F0F3-AD3F-983E402144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603995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B6DFAF37-36A1-A817-18F7-9B949EFC2133}"/>
              </a:ext>
            </a:extLst>
          </p:cNvPr>
          <p:cNvGrpSpPr/>
          <p:nvPr/>
        </p:nvGrpSpPr>
        <p:grpSpPr>
          <a:xfrm>
            <a:off x="694468" y="1483849"/>
            <a:ext cx="9676125" cy="5098846"/>
            <a:chOff x="2899185" y="2003250"/>
            <a:chExt cx="9676125" cy="5098846"/>
          </a:xfrm>
        </p:grpSpPr>
        <p:sp>
          <p:nvSpPr>
            <p:cNvPr id="9" name="Google Shape;229;g370fc456c4b_0_4">
              <a:extLst>
                <a:ext uri="{FF2B5EF4-FFF2-40B4-BE49-F238E27FC236}">
                  <a16:creationId xmlns:a16="http://schemas.microsoft.com/office/drawing/2014/main" id="{8D9BE8B9-0F07-0D0D-3EAA-55ABDB64F95B}"/>
                </a:ext>
              </a:extLst>
            </p:cNvPr>
            <p:cNvSpPr/>
            <p:nvPr/>
          </p:nvSpPr>
          <p:spPr>
            <a:xfrm>
              <a:off x="4056098" y="2003250"/>
              <a:ext cx="8519212" cy="50988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" name="Google Shape;230;g370fc456c4b_0_4">
              <a:extLst>
                <a:ext uri="{FF2B5EF4-FFF2-40B4-BE49-F238E27FC236}">
                  <a16:creationId xmlns:a16="http://schemas.microsoft.com/office/drawing/2014/main" id="{DC30BF09-91D0-CBFE-4C88-029858403D2D}"/>
                </a:ext>
              </a:extLst>
            </p:cNvPr>
            <p:cNvCxnSpPr>
              <a:cxnSpLocks/>
              <a:stCxn id="11" idx="3"/>
            </p:cNvCxnSpPr>
            <p:nvPr/>
          </p:nvCxnSpPr>
          <p:spPr>
            <a:xfrm>
              <a:off x="3571563" y="2696580"/>
              <a:ext cx="48001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0B52D3E1-225C-0FB9-F4E0-3187A99323C2}"/>
                </a:ext>
              </a:extLst>
            </p:cNvPr>
            <p:cNvSpPr/>
            <p:nvPr/>
          </p:nvSpPr>
          <p:spPr>
            <a:xfrm>
              <a:off x="2899185" y="2552844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CB65F07-7F7C-E859-C709-5D368C1191F9}"/>
              </a:ext>
            </a:extLst>
          </p:cNvPr>
          <p:cNvGrpSpPr/>
          <p:nvPr/>
        </p:nvGrpSpPr>
        <p:grpSpPr>
          <a:xfrm>
            <a:off x="630409" y="3898156"/>
            <a:ext cx="3598254" cy="998883"/>
            <a:chOff x="2042681" y="1919594"/>
            <a:chExt cx="3598254" cy="998883"/>
          </a:xfrm>
        </p:grpSpPr>
        <p:sp>
          <p:nvSpPr>
            <p:cNvPr id="13" name="Google Shape;229;g370fc456c4b_0_4">
              <a:extLst>
                <a:ext uri="{FF2B5EF4-FFF2-40B4-BE49-F238E27FC236}">
                  <a16:creationId xmlns:a16="http://schemas.microsoft.com/office/drawing/2014/main" id="{78D34FE6-6575-3B95-0121-F88DDE894859}"/>
                </a:ext>
              </a:extLst>
            </p:cNvPr>
            <p:cNvSpPr/>
            <p:nvPr/>
          </p:nvSpPr>
          <p:spPr>
            <a:xfrm>
              <a:off x="5065439" y="1919594"/>
              <a:ext cx="575496" cy="27023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" name="Google Shape;230;g370fc456c4b_0_4">
              <a:extLst>
                <a:ext uri="{FF2B5EF4-FFF2-40B4-BE49-F238E27FC236}">
                  <a16:creationId xmlns:a16="http://schemas.microsoft.com/office/drawing/2014/main" id="{6DECA183-C462-0D2B-7A9E-A0CE2073F13F}"/>
                </a:ext>
              </a:extLst>
            </p:cNvPr>
            <p:cNvCxnSpPr>
              <a:cxnSpLocks/>
              <a:stCxn id="15" idx="3"/>
            </p:cNvCxnSpPr>
            <p:nvPr/>
          </p:nvCxnSpPr>
          <p:spPr>
            <a:xfrm flipV="1">
              <a:off x="2723317" y="2189826"/>
              <a:ext cx="2629870" cy="58491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0336F45F-C870-8CCD-A703-6153BDFDE5EC}"/>
                </a:ext>
              </a:extLst>
            </p:cNvPr>
            <p:cNvSpPr/>
            <p:nvPr/>
          </p:nvSpPr>
          <p:spPr>
            <a:xfrm>
              <a:off x="2042681" y="2631005"/>
              <a:ext cx="68063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abel</a:t>
              </a:r>
              <a:endParaRPr lang="en-US" dirty="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C05C64C-0827-E6BF-D292-33827B0BEA75}"/>
              </a:ext>
            </a:extLst>
          </p:cNvPr>
          <p:cNvGrpSpPr/>
          <p:nvPr/>
        </p:nvGrpSpPr>
        <p:grpSpPr>
          <a:xfrm>
            <a:off x="344740" y="3462066"/>
            <a:ext cx="5252977" cy="958857"/>
            <a:chOff x="598531" y="1363940"/>
            <a:chExt cx="5252977" cy="958857"/>
          </a:xfrm>
        </p:grpSpPr>
        <p:sp>
          <p:nvSpPr>
            <p:cNvPr id="17" name="Google Shape;229;g370fc456c4b_0_4">
              <a:extLst>
                <a:ext uri="{FF2B5EF4-FFF2-40B4-BE49-F238E27FC236}">
                  <a16:creationId xmlns:a16="http://schemas.microsoft.com/office/drawing/2014/main" id="{A281EC3F-A407-EA97-7B30-0B176B782666}"/>
                </a:ext>
              </a:extLst>
            </p:cNvPr>
            <p:cNvSpPr/>
            <p:nvPr/>
          </p:nvSpPr>
          <p:spPr>
            <a:xfrm>
              <a:off x="3442263" y="1520076"/>
              <a:ext cx="2409245" cy="80272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" name="Google Shape;230;g370fc456c4b_0_4">
              <a:extLst>
                <a:ext uri="{FF2B5EF4-FFF2-40B4-BE49-F238E27FC236}">
                  <a16:creationId xmlns:a16="http://schemas.microsoft.com/office/drawing/2014/main" id="{BB1B90E2-FF71-8D3A-3CA2-993F8FDA094D}"/>
                </a:ext>
              </a:extLst>
            </p:cNvPr>
            <p:cNvCxnSpPr>
              <a:cxnSpLocks/>
              <a:stCxn id="19" idx="3"/>
            </p:cNvCxnSpPr>
            <p:nvPr/>
          </p:nvCxnSpPr>
          <p:spPr>
            <a:xfrm>
              <a:off x="1636559" y="1507676"/>
              <a:ext cx="1473586" cy="13088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5E5D37EF-C4E3-4959-9BB2-7B0F9A07E8C9}"/>
                </a:ext>
              </a:extLst>
            </p:cNvPr>
            <p:cNvSpPr/>
            <p:nvPr/>
          </p:nvSpPr>
          <p:spPr>
            <a:xfrm>
              <a:off x="598531" y="1363940"/>
              <a:ext cx="10380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Label</a:t>
              </a:r>
              <a:endParaRPr lang="en-US" dirty="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EA5F8B9-ABB9-53D7-A600-7795B05C8FB8}"/>
              </a:ext>
            </a:extLst>
          </p:cNvPr>
          <p:cNvGrpSpPr/>
          <p:nvPr/>
        </p:nvGrpSpPr>
        <p:grpSpPr>
          <a:xfrm>
            <a:off x="1999804" y="1526691"/>
            <a:ext cx="1653363" cy="287472"/>
            <a:chOff x="6580814" y="4323685"/>
            <a:chExt cx="1653363" cy="287472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0245B830-A525-F479-697A-DAA2E69213F8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6AE20E8B-4534-7883-1DA5-072216FAF8B1}"/>
                </a:ext>
              </a:extLst>
            </p:cNvPr>
            <p:cNvCxnSpPr>
              <a:cxnSpLocks/>
              <a:endCxn id="21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86DBD470-ACB3-19BC-AC3B-F068A478BBEF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2AF03E1-C8F5-B4B8-9C23-226F1ECEBEB0}"/>
              </a:ext>
            </a:extLst>
          </p:cNvPr>
          <p:cNvGrpSpPr/>
          <p:nvPr/>
        </p:nvGrpSpPr>
        <p:grpSpPr>
          <a:xfrm>
            <a:off x="2478752" y="2023715"/>
            <a:ext cx="2762383" cy="287472"/>
            <a:chOff x="6527964" y="4323685"/>
            <a:chExt cx="2762383" cy="287472"/>
          </a:xfrm>
        </p:grpSpPr>
        <p:sp>
          <p:nvSpPr>
            <p:cNvPr id="25" name="Google Shape;229;g370fc456c4b_0_4">
              <a:extLst>
                <a:ext uri="{FF2B5EF4-FFF2-40B4-BE49-F238E27FC236}">
                  <a16:creationId xmlns:a16="http://schemas.microsoft.com/office/drawing/2014/main" id="{6A80C88C-7D3D-D2AF-C7B8-DA3880A079B3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6" name="Google Shape;230;g370fc456c4b_0_4">
              <a:extLst>
                <a:ext uri="{FF2B5EF4-FFF2-40B4-BE49-F238E27FC236}">
                  <a16:creationId xmlns:a16="http://schemas.microsoft.com/office/drawing/2014/main" id="{F6B8CE5E-FAD5-83B2-D776-72E85EA7FB00}"/>
                </a:ext>
              </a:extLst>
            </p:cNvPr>
            <p:cNvCxnSpPr>
              <a:cxnSpLocks/>
              <a:endCxn id="25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98A7E582-4BD8-D76C-8963-934B2390E159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9D6C2E9-4367-0067-8DF8-59FD9EBDD149}"/>
              </a:ext>
            </a:extLst>
          </p:cNvPr>
          <p:cNvSpPr/>
          <p:nvPr/>
        </p:nvSpPr>
        <p:spPr>
          <a:xfrm>
            <a:off x="698992" y="1468720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ge</a:t>
            </a:r>
            <a:endParaRPr lang="en-US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82AB260-D264-3B12-266A-AF736180FD89}"/>
              </a:ext>
            </a:extLst>
          </p:cNvPr>
          <p:cNvGrpSpPr/>
          <p:nvPr/>
        </p:nvGrpSpPr>
        <p:grpSpPr>
          <a:xfrm>
            <a:off x="4761639" y="2781730"/>
            <a:ext cx="870678" cy="1565121"/>
            <a:chOff x="5017867" y="779843"/>
            <a:chExt cx="870678" cy="1565121"/>
          </a:xfrm>
        </p:grpSpPr>
        <p:sp>
          <p:nvSpPr>
            <p:cNvPr id="36" name="Google Shape;229;g370fc456c4b_0_4">
              <a:extLst>
                <a:ext uri="{FF2B5EF4-FFF2-40B4-BE49-F238E27FC236}">
                  <a16:creationId xmlns:a16="http://schemas.microsoft.com/office/drawing/2014/main" id="{C6D2D7FE-E245-1BF8-988F-B0DA793DD29C}"/>
                </a:ext>
              </a:extLst>
            </p:cNvPr>
            <p:cNvSpPr/>
            <p:nvPr/>
          </p:nvSpPr>
          <p:spPr>
            <a:xfrm>
              <a:off x="5017867" y="1760049"/>
              <a:ext cx="479496" cy="5849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7" name="Google Shape;230;g370fc456c4b_0_4">
              <a:extLst>
                <a:ext uri="{FF2B5EF4-FFF2-40B4-BE49-F238E27FC236}">
                  <a16:creationId xmlns:a16="http://schemas.microsoft.com/office/drawing/2014/main" id="{85550ABB-ECFC-21CE-75D0-C7C3A8C21530}"/>
                </a:ext>
              </a:extLst>
            </p:cNvPr>
            <p:cNvCxnSpPr>
              <a:cxnSpLocks/>
              <a:stCxn id="38" idx="2"/>
              <a:endCxn id="36" idx="0"/>
            </p:cNvCxnSpPr>
            <p:nvPr/>
          </p:nvCxnSpPr>
          <p:spPr>
            <a:xfrm flipH="1">
              <a:off x="5257615" y="1067315"/>
              <a:ext cx="290612" cy="69273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358077FF-4CAF-5596-74D0-0D2F083B296E}"/>
                </a:ext>
              </a:extLst>
            </p:cNvPr>
            <p:cNvSpPr/>
            <p:nvPr/>
          </p:nvSpPr>
          <p:spPr>
            <a:xfrm>
              <a:off x="5207909" y="779843"/>
              <a:ext cx="68063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or</a:t>
              </a:r>
              <a:endParaRPr lang="en-US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95633448-11FD-FB6A-3F94-B760B6596741}"/>
              </a:ext>
            </a:extLst>
          </p:cNvPr>
          <p:cNvGrpSpPr/>
          <p:nvPr/>
        </p:nvGrpSpPr>
        <p:grpSpPr>
          <a:xfrm>
            <a:off x="4848307" y="3210938"/>
            <a:ext cx="1759227" cy="927012"/>
            <a:chOff x="6607272" y="3631596"/>
            <a:chExt cx="1759227" cy="927012"/>
          </a:xfrm>
        </p:grpSpPr>
        <p:sp>
          <p:nvSpPr>
            <p:cNvPr id="46" name="Google Shape;229;g370fc456c4b_0_4">
              <a:extLst>
                <a:ext uri="{FF2B5EF4-FFF2-40B4-BE49-F238E27FC236}">
                  <a16:creationId xmlns:a16="http://schemas.microsoft.com/office/drawing/2014/main" id="{5D12D096-33B4-CD56-C6B2-73D501E638DA}"/>
                </a:ext>
              </a:extLst>
            </p:cNvPr>
            <p:cNvSpPr/>
            <p:nvPr/>
          </p:nvSpPr>
          <p:spPr>
            <a:xfrm>
              <a:off x="6607272" y="4374444"/>
              <a:ext cx="211303" cy="18416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7" name="Google Shape;230;g370fc456c4b_0_4">
              <a:extLst>
                <a:ext uri="{FF2B5EF4-FFF2-40B4-BE49-F238E27FC236}">
                  <a16:creationId xmlns:a16="http://schemas.microsoft.com/office/drawing/2014/main" id="{5D601521-B467-7F12-9E31-BD5878A5EC7A}"/>
                </a:ext>
              </a:extLst>
            </p:cNvPr>
            <p:cNvCxnSpPr>
              <a:cxnSpLocks/>
              <a:stCxn id="48" idx="1"/>
              <a:endCxn id="46" idx="3"/>
            </p:cNvCxnSpPr>
            <p:nvPr/>
          </p:nvCxnSpPr>
          <p:spPr>
            <a:xfrm flipH="1">
              <a:off x="6818575" y="3775332"/>
              <a:ext cx="661536" cy="69119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89BE7E1A-1E4D-C08E-E9B4-CD738F65C186}"/>
                </a:ext>
              </a:extLst>
            </p:cNvPr>
            <p:cNvSpPr/>
            <p:nvPr/>
          </p:nvSpPr>
          <p:spPr>
            <a:xfrm>
              <a:off x="7480111" y="3631596"/>
              <a:ext cx="88638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conColo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45D5321-A4B7-6821-472A-B12BE2D060D7}"/>
              </a:ext>
            </a:extLst>
          </p:cNvPr>
          <p:cNvGrpSpPr/>
          <p:nvPr/>
        </p:nvGrpSpPr>
        <p:grpSpPr>
          <a:xfrm>
            <a:off x="4833404" y="3637863"/>
            <a:ext cx="1901351" cy="546713"/>
            <a:chOff x="6438970" y="3934708"/>
            <a:chExt cx="1901351" cy="546713"/>
          </a:xfrm>
        </p:grpSpPr>
        <p:sp>
          <p:nvSpPr>
            <p:cNvPr id="57" name="Google Shape;229;g370fc456c4b_0_4">
              <a:extLst>
                <a:ext uri="{FF2B5EF4-FFF2-40B4-BE49-F238E27FC236}">
                  <a16:creationId xmlns:a16="http://schemas.microsoft.com/office/drawing/2014/main" id="{F4F68E05-6732-FAED-316E-54E7BCF905D3}"/>
                </a:ext>
              </a:extLst>
            </p:cNvPr>
            <p:cNvSpPr/>
            <p:nvPr/>
          </p:nvSpPr>
          <p:spPr>
            <a:xfrm>
              <a:off x="6438970" y="4202514"/>
              <a:ext cx="379605" cy="27890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8" name="Google Shape;230;g370fc456c4b_0_4">
              <a:extLst>
                <a:ext uri="{FF2B5EF4-FFF2-40B4-BE49-F238E27FC236}">
                  <a16:creationId xmlns:a16="http://schemas.microsoft.com/office/drawing/2014/main" id="{586DF30A-C0A2-E4A3-F831-ADB408DFBD34}"/>
                </a:ext>
              </a:extLst>
            </p:cNvPr>
            <p:cNvCxnSpPr>
              <a:cxnSpLocks/>
              <a:stCxn id="59" idx="1"/>
              <a:endCxn id="57" idx="3"/>
            </p:cNvCxnSpPr>
            <p:nvPr/>
          </p:nvCxnSpPr>
          <p:spPr>
            <a:xfrm flipH="1">
              <a:off x="6818575" y="4078444"/>
              <a:ext cx="508138" cy="26352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C0C8E27F-B83D-4DC5-0608-E09F0ACD70AD}"/>
                </a:ext>
              </a:extLst>
            </p:cNvPr>
            <p:cNvSpPr/>
            <p:nvPr/>
          </p:nvSpPr>
          <p:spPr>
            <a:xfrm>
              <a:off x="7326713" y="3934708"/>
              <a:ext cx="101360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Colo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BB6C1663-83D4-64F2-C358-19F24D8AC459}"/>
              </a:ext>
            </a:extLst>
          </p:cNvPr>
          <p:cNvGrpSpPr/>
          <p:nvPr/>
        </p:nvGrpSpPr>
        <p:grpSpPr>
          <a:xfrm>
            <a:off x="6985769" y="3210938"/>
            <a:ext cx="5093983" cy="834185"/>
            <a:chOff x="4754418" y="1454269"/>
            <a:chExt cx="5093983" cy="834185"/>
          </a:xfrm>
        </p:grpSpPr>
        <p:sp>
          <p:nvSpPr>
            <p:cNvPr id="71" name="Google Shape;229;g370fc456c4b_0_4">
              <a:extLst>
                <a:ext uri="{FF2B5EF4-FFF2-40B4-BE49-F238E27FC236}">
                  <a16:creationId xmlns:a16="http://schemas.microsoft.com/office/drawing/2014/main" id="{6A3B7D7B-5638-179E-60CA-49C4D386ED4B}"/>
                </a:ext>
              </a:extLst>
            </p:cNvPr>
            <p:cNvSpPr/>
            <p:nvPr/>
          </p:nvSpPr>
          <p:spPr>
            <a:xfrm>
              <a:off x="4754418" y="1454269"/>
              <a:ext cx="3279366" cy="83418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2" name="Google Shape;230;g370fc456c4b_0_4">
              <a:extLst>
                <a:ext uri="{FF2B5EF4-FFF2-40B4-BE49-F238E27FC236}">
                  <a16:creationId xmlns:a16="http://schemas.microsoft.com/office/drawing/2014/main" id="{5E68BCAB-C102-AC0A-F22A-C015250E94E0}"/>
                </a:ext>
              </a:extLst>
            </p:cNvPr>
            <p:cNvCxnSpPr>
              <a:cxnSpLocks/>
              <a:stCxn id="73" idx="1"/>
              <a:endCxn id="71" idx="3"/>
            </p:cNvCxnSpPr>
            <p:nvPr/>
          </p:nvCxnSpPr>
          <p:spPr>
            <a:xfrm flipH="1">
              <a:off x="8033784" y="1857774"/>
              <a:ext cx="703732" cy="1358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6AFEBA5C-5068-4B13-106F-C5C4387E2CEA}"/>
                </a:ext>
              </a:extLst>
            </p:cNvPr>
            <p:cNvSpPr/>
            <p:nvPr/>
          </p:nvSpPr>
          <p:spPr>
            <a:xfrm>
              <a:off x="8737516" y="1714038"/>
              <a:ext cx="111088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ment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6A01AC88-613A-486B-6EC8-8CDD12E19539}"/>
              </a:ext>
            </a:extLst>
          </p:cNvPr>
          <p:cNvGrpSpPr/>
          <p:nvPr/>
        </p:nvGrpSpPr>
        <p:grpSpPr>
          <a:xfrm>
            <a:off x="7270922" y="3836168"/>
            <a:ext cx="4808830" cy="558107"/>
            <a:chOff x="5017867" y="1760051"/>
            <a:chExt cx="4808830" cy="558107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85129228-0ECF-44B3-7454-3E43762BA4EC}"/>
                </a:ext>
              </a:extLst>
            </p:cNvPr>
            <p:cNvSpPr/>
            <p:nvPr/>
          </p:nvSpPr>
          <p:spPr>
            <a:xfrm>
              <a:off x="5017867" y="1760051"/>
              <a:ext cx="378234" cy="18339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8C3EBC77-B795-4640-4D7D-AAED1507BB9B}"/>
                </a:ext>
              </a:extLst>
            </p:cNvPr>
            <p:cNvCxnSpPr>
              <a:cxnSpLocks/>
              <a:stCxn id="83" idx="1"/>
              <a:endCxn id="81" idx="3"/>
            </p:cNvCxnSpPr>
            <p:nvPr/>
          </p:nvCxnSpPr>
          <p:spPr>
            <a:xfrm flipH="1" flipV="1">
              <a:off x="5396101" y="1851749"/>
              <a:ext cx="3319711" cy="32267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C8C58509-D823-45DE-F190-411EFBF6178D}"/>
                </a:ext>
              </a:extLst>
            </p:cNvPr>
            <p:cNvSpPr/>
            <p:nvPr/>
          </p:nvSpPr>
          <p:spPr>
            <a:xfrm>
              <a:off x="8715812" y="2030686"/>
              <a:ext cx="111088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eaction</a:t>
              </a:r>
              <a:endParaRPr lang="en-US" dirty="0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623E4099-EFBE-CE95-275D-BC0645BD0948}"/>
              </a:ext>
            </a:extLst>
          </p:cNvPr>
          <p:cNvGrpSpPr/>
          <p:nvPr/>
        </p:nvGrpSpPr>
        <p:grpSpPr>
          <a:xfrm>
            <a:off x="1999804" y="5070601"/>
            <a:ext cx="1860141" cy="287472"/>
            <a:chOff x="6527964" y="4317286"/>
            <a:chExt cx="1860141" cy="287472"/>
          </a:xfrm>
        </p:grpSpPr>
        <p:sp>
          <p:nvSpPr>
            <p:cNvPr id="92" name="Google Shape;229;g370fc456c4b_0_4">
              <a:extLst>
                <a:ext uri="{FF2B5EF4-FFF2-40B4-BE49-F238E27FC236}">
                  <a16:creationId xmlns:a16="http://schemas.microsoft.com/office/drawing/2014/main" id="{75DD7C8D-88B4-5EF9-7A43-017E45C84A75}"/>
                </a:ext>
              </a:extLst>
            </p:cNvPr>
            <p:cNvSpPr/>
            <p:nvPr/>
          </p:nvSpPr>
          <p:spPr>
            <a:xfrm>
              <a:off x="6527964" y="4355580"/>
              <a:ext cx="738963" cy="22241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3" name="Google Shape;230;g370fc456c4b_0_4">
              <a:extLst>
                <a:ext uri="{FF2B5EF4-FFF2-40B4-BE49-F238E27FC236}">
                  <a16:creationId xmlns:a16="http://schemas.microsoft.com/office/drawing/2014/main" id="{42DFABE8-8889-D9F2-120F-332896F7BE3B}"/>
                </a:ext>
              </a:extLst>
            </p:cNvPr>
            <p:cNvCxnSpPr>
              <a:cxnSpLocks/>
              <a:stCxn id="94" idx="1"/>
              <a:endCxn id="92" idx="3"/>
            </p:cNvCxnSpPr>
            <p:nvPr/>
          </p:nvCxnSpPr>
          <p:spPr>
            <a:xfrm flipH="1">
              <a:off x="7266927" y="4461022"/>
              <a:ext cx="309172" cy="576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274CFDA0-5AE1-5614-4E07-3FC0FABB5CBD}"/>
                </a:ext>
              </a:extLst>
            </p:cNvPr>
            <p:cNvSpPr/>
            <p:nvPr/>
          </p:nvSpPr>
          <p:spPr>
            <a:xfrm>
              <a:off x="7576099" y="4317286"/>
              <a:ext cx="81200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ca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1D4A7C60-01EF-FC40-96D7-C10ADB4343F6}"/>
              </a:ext>
            </a:extLst>
          </p:cNvPr>
          <p:cNvGrpSpPr/>
          <p:nvPr/>
        </p:nvGrpSpPr>
        <p:grpSpPr>
          <a:xfrm>
            <a:off x="1999804" y="2591141"/>
            <a:ext cx="2228859" cy="287472"/>
            <a:chOff x="6527964" y="4318236"/>
            <a:chExt cx="2228859" cy="287472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8F68ED48-444C-F23B-796B-F3B99B07C29C}"/>
                </a:ext>
              </a:extLst>
            </p:cNvPr>
            <p:cNvSpPr/>
            <p:nvPr/>
          </p:nvSpPr>
          <p:spPr>
            <a:xfrm>
              <a:off x="6527964" y="4355580"/>
              <a:ext cx="1141004" cy="22256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B31C7491-9620-525B-9C98-BA60BBDB8F60}"/>
                </a:ext>
              </a:extLst>
            </p:cNvPr>
            <p:cNvCxnSpPr>
              <a:cxnSpLocks/>
              <a:stCxn id="105" idx="1"/>
              <a:endCxn id="103" idx="3"/>
            </p:cNvCxnSpPr>
            <p:nvPr/>
          </p:nvCxnSpPr>
          <p:spPr>
            <a:xfrm flipH="1">
              <a:off x="7668968" y="4461972"/>
              <a:ext cx="246314" cy="488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1381A9D0-87F6-CFD2-9810-200F52AB6EB1}"/>
                </a:ext>
              </a:extLst>
            </p:cNvPr>
            <p:cNvSpPr/>
            <p:nvPr/>
          </p:nvSpPr>
          <p:spPr>
            <a:xfrm>
              <a:off x="7915282" y="4318236"/>
              <a:ext cx="84154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962EA813-2987-D326-EA95-70E193C56C3D}"/>
              </a:ext>
            </a:extLst>
          </p:cNvPr>
          <p:cNvGrpSpPr/>
          <p:nvPr/>
        </p:nvGrpSpPr>
        <p:grpSpPr>
          <a:xfrm>
            <a:off x="467034" y="3751959"/>
            <a:ext cx="2649966" cy="478213"/>
            <a:chOff x="1799606" y="1520076"/>
            <a:chExt cx="2649966" cy="478213"/>
          </a:xfrm>
        </p:grpSpPr>
        <p:sp>
          <p:nvSpPr>
            <p:cNvPr id="113" name="Google Shape;229;g370fc456c4b_0_4">
              <a:extLst>
                <a:ext uri="{FF2B5EF4-FFF2-40B4-BE49-F238E27FC236}">
                  <a16:creationId xmlns:a16="http://schemas.microsoft.com/office/drawing/2014/main" id="{A9D04126-0F7E-1A69-D0AF-39CA8A851C89}"/>
                </a:ext>
              </a:extLst>
            </p:cNvPr>
            <p:cNvSpPr/>
            <p:nvPr/>
          </p:nvSpPr>
          <p:spPr>
            <a:xfrm>
              <a:off x="3565236" y="1520076"/>
              <a:ext cx="884336" cy="47821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4" name="Google Shape;230;g370fc456c4b_0_4">
              <a:extLst>
                <a:ext uri="{FF2B5EF4-FFF2-40B4-BE49-F238E27FC236}">
                  <a16:creationId xmlns:a16="http://schemas.microsoft.com/office/drawing/2014/main" id="{CD8F7D08-5E33-4F97-7350-3B1944051642}"/>
                </a:ext>
              </a:extLst>
            </p:cNvPr>
            <p:cNvCxnSpPr>
              <a:cxnSpLocks/>
              <a:stCxn id="115" idx="3"/>
            </p:cNvCxnSpPr>
            <p:nvPr/>
          </p:nvCxnSpPr>
          <p:spPr>
            <a:xfrm flipV="1">
              <a:off x="2699417" y="1751720"/>
              <a:ext cx="865818" cy="2736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5" name="Rectangle: Rounded Corners 114">
              <a:extLst>
                <a:ext uri="{FF2B5EF4-FFF2-40B4-BE49-F238E27FC236}">
                  <a16:creationId xmlns:a16="http://schemas.microsoft.com/office/drawing/2014/main" id="{6E0A5C31-9D20-540F-FB7D-34734C77A120}"/>
                </a:ext>
              </a:extLst>
            </p:cNvPr>
            <p:cNvSpPr/>
            <p:nvPr/>
          </p:nvSpPr>
          <p:spPr>
            <a:xfrm>
              <a:off x="1799606" y="1635347"/>
              <a:ext cx="89981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sp>
        <p:nvSpPr>
          <p:cNvPr id="121" name="Rectangle: Rounded Corners 120">
            <a:extLst>
              <a:ext uri="{FF2B5EF4-FFF2-40B4-BE49-F238E27FC236}">
                <a16:creationId xmlns:a16="http://schemas.microsoft.com/office/drawing/2014/main" id="{83214D3A-0040-CA10-8B9B-7E811CD518EA}"/>
              </a:ext>
            </a:extLst>
          </p:cNvPr>
          <p:cNvSpPr/>
          <p:nvPr/>
        </p:nvSpPr>
        <p:spPr>
          <a:xfrm>
            <a:off x="455985" y="2594225"/>
            <a:ext cx="910860" cy="281303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ember</a:t>
            </a:r>
            <a:endParaRPr lang="en-US" dirty="0"/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F1EBD565-80CC-4AA7-879F-F9BBE9C482E7}"/>
              </a:ext>
            </a:extLst>
          </p:cNvPr>
          <p:cNvGrpSpPr/>
          <p:nvPr/>
        </p:nvGrpSpPr>
        <p:grpSpPr>
          <a:xfrm>
            <a:off x="7831647" y="2952467"/>
            <a:ext cx="1823905" cy="518240"/>
            <a:chOff x="6438970" y="3934708"/>
            <a:chExt cx="1823905" cy="518240"/>
          </a:xfrm>
        </p:grpSpPr>
        <p:sp>
          <p:nvSpPr>
            <p:cNvPr id="128" name="Google Shape;229;g370fc456c4b_0_4">
              <a:extLst>
                <a:ext uri="{FF2B5EF4-FFF2-40B4-BE49-F238E27FC236}">
                  <a16:creationId xmlns:a16="http://schemas.microsoft.com/office/drawing/2014/main" id="{3057FB25-6073-9BFB-17FB-E4DD4A07C97D}"/>
                </a:ext>
              </a:extLst>
            </p:cNvPr>
            <p:cNvSpPr/>
            <p:nvPr/>
          </p:nvSpPr>
          <p:spPr>
            <a:xfrm>
              <a:off x="6438970" y="4281753"/>
              <a:ext cx="379605" cy="17119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9" name="Google Shape;230;g370fc456c4b_0_4">
              <a:extLst>
                <a:ext uri="{FF2B5EF4-FFF2-40B4-BE49-F238E27FC236}">
                  <a16:creationId xmlns:a16="http://schemas.microsoft.com/office/drawing/2014/main" id="{8673ED05-E282-2935-BEE9-3D870728E37D}"/>
                </a:ext>
              </a:extLst>
            </p:cNvPr>
            <p:cNvCxnSpPr>
              <a:cxnSpLocks/>
              <a:stCxn id="130" idx="1"/>
              <a:endCxn id="128" idx="3"/>
            </p:cNvCxnSpPr>
            <p:nvPr/>
          </p:nvCxnSpPr>
          <p:spPr>
            <a:xfrm flipH="1">
              <a:off x="6818575" y="4078444"/>
              <a:ext cx="508138" cy="288907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0" name="Rectangle: Rounded Corners 129">
              <a:extLst>
                <a:ext uri="{FF2B5EF4-FFF2-40B4-BE49-F238E27FC236}">
                  <a16:creationId xmlns:a16="http://schemas.microsoft.com/office/drawing/2014/main" id="{520F1FF7-F4BB-E6DA-A2B1-6379BA80D9D9}"/>
                </a:ext>
              </a:extLst>
            </p:cNvPr>
            <p:cNvSpPr/>
            <p:nvPr/>
          </p:nvSpPr>
          <p:spPr>
            <a:xfrm>
              <a:off x="7326713" y="3934708"/>
              <a:ext cx="9361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By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6584038B-6753-2C63-7E4F-F2B463E62542}"/>
              </a:ext>
            </a:extLst>
          </p:cNvPr>
          <p:cNvGrpSpPr/>
          <p:nvPr/>
        </p:nvGrpSpPr>
        <p:grpSpPr>
          <a:xfrm>
            <a:off x="7333029" y="3484294"/>
            <a:ext cx="2605219" cy="287472"/>
            <a:chOff x="6438970" y="4262332"/>
            <a:chExt cx="2605219" cy="287472"/>
          </a:xfrm>
        </p:grpSpPr>
        <p:sp>
          <p:nvSpPr>
            <p:cNvPr id="135" name="Google Shape;229;g370fc456c4b_0_4">
              <a:extLst>
                <a:ext uri="{FF2B5EF4-FFF2-40B4-BE49-F238E27FC236}">
                  <a16:creationId xmlns:a16="http://schemas.microsoft.com/office/drawing/2014/main" id="{0B96419C-F764-7E85-51E8-291B77EF245D}"/>
                </a:ext>
              </a:extLst>
            </p:cNvPr>
            <p:cNvSpPr/>
            <p:nvPr/>
          </p:nvSpPr>
          <p:spPr>
            <a:xfrm>
              <a:off x="6438970" y="4281753"/>
              <a:ext cx="1125886" cy="2458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6" name="Google Shape;230;g370fc456c4b_0_4">
              <a:extLst>
                <a:ext uri="{FF2B5EF4-FFF2-40B4-BE49-F238E27FC236}">
                  <a16:creationId xmlns:a16="http://schemas.microsoft.com/office/drawing/2014/main" id="{C41A81BC-F5B3-6D56-1E20-14C29D435990}"/>
                </a:ext>
              </a:extLst>
            </p:cNvPr>
            <p:cNvCxnSpPr>
              <a:cxnSpLocks/>
              <a:stCxn id="137" idx="1"/>
              <a:endCxn id="135" idx="3"/>
            </p:cNvCxnSpPr>
            <p:nvPr/>
          </p:nvCxnSpPr>
          <p:spPr>
            <a:xfrm flipH="1" flipV="1">
              <a:off x="7564856" y="4404665"/>
              <a:ext cx="543171" cy="140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7" name="Rectangle: Rounded Corners 136">
              <a:extLst>
                <a:ext uri="{FF2B5EF4-FFF2-40B4-BE49-F238E27FC236}">
                  <a16:creationId xmlns:a16="http://schemas.microsoft.com/office/drawing/2014/main" id="{051ACD8A-EA58-39F0-5F60-417F132C743A}"/>
                </a:ext>
              </a:extLst>
            </p:cNvPr>
            <p:cNvSpPr/>
            <p:nvPr/>
          </p:nvSpPr>
          <p:spPr>
            <a:xfrm>
              <a:off x="8108027" y="4262332"/>
              <a:ext cx="9361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nten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00194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C00306-5D7E-DA9A-3859-3CD0BE5E8E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92675E51-9600-9BB4-EFF4-3433E3B778C3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7634134-7ACB-2F9D-8C00-DA89028F9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STAGE, CARD IN TRELLO SYSTEM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6AC3E13-805B-D04C-26D5-9481D638B3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3905795" cy="525853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F467756-940D-407D-52B5-0AEFB03BFD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9994" y="1098000"/>
            <a:ext cx="3982006" cy="1905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5853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5F3DC3-B574-0634-0367-AC478B9E69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D6DC78C-A90A-9A81-671F-DCE36B1A22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IN TRELLO SYSTEM</a:t>
            </a:r>
            <a:endParaRPr lang="en-US" dirty="0"/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923D635C-6174-B10D-AA1D-BB2F775772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62806"/>
            <a:ext cx="12192000" cy="6010419"/>
          </a:xfrm>
          <a:prstGeom prst="rect">
            <a:avLst/>
          </a:prstGeom>
        </p:spPr>
      </p:pic>
      <p:grpSp>
        <p:nvGrpSpPr>
          <p:cNvPr id="71" name="Group 70">
            <a:extLst>
              <a:ext uri="{FF2B5EF4-FFF2-40B4-BE49-F238E27FC236}">
                <a16:creationId xmlns:a16="http://schemas.microsoft.com/office/drawing/2014/main" id="{3EABA543-F72B-A7CE-0CB3-D77FFA34E102}"/>
              </a:ext>
            </a:extLst>
          </p:cNvPr>
          <p:cNvGrpSpPr/>
          <p:nvPr/>
        </p:nvGrpSpPr>
        <p:grpSpPr>
          <a:xfrm>
            <a:off x="215117" y="3026125"/>
            <a:ext cx="6438811" cy="1451897"/>
            <a:chOff x="1799607" y="1520076"/>
            <a:chExt cx="6438811" cy="1451897"/>
          </a:xfrm>
        </p:grpSpPr>
        <p:sp>
          <p:nvSpPr>
            <p:cNvPr id="72" name="Google Shape;229;g370fc456c4b_0_4">
              <a:extLst>
                <a:ext uri="{FF2B5EF4-FFF2-40B4-BE49-F238E27FC236}">
                  <a16:creationId xmlns:a16="http://schemas.microsoft.com/office/drawing/2014/main" id="{35F49AC4-ECB1-1A15-7950-9E8ED2B7912A}"/>
                </a:ext>
              </a:extLst>
            </p:cNvPr>
            <p:cNvSpPr/>
            <p:nvPr/>
          </p:nvSpPr>
          <p:spPr>
            <a:xfrm>
              <a:off x="3565236" y="1520076"/>
              <a:ext cx="4673182" cy="145189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3" name="Google Shape;230;g370fc456c4b_0_4">
              <a:extLst>
                <a:ext uri="{FF2B5EF4-FFF2-40B4-BE49-F238E27FC236}">
                  <a16:creationId xmlns:a16="http://schemas.microsoft.com/office/drawing/2014/main" id="{95A4010F-EA99-3D54-7778-617EDBE79911}"/>
                </a:ext>
              </a:extLst>
            </p:cNvPr>
            <p:cNvCxnSpPr>
              <a:cxnSpLocks/>
              <a:stCxn id="74" idx="3"/>
            </p:cNvCxnSpPr>
            <p:nvPr/>
          </p:nvCxnSpPr>
          <p:spPr>
            <a:xfrm>
              <a:off x="3140108" y="1720604"/>
              <a:ext cx="425128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9ECF22BA-7AE4-9B42-0D11-77AAA77929AA}"/>
                </a:ext>
              </a:extLst>
            </p:cNvPr>
            <p:cNvSpPr/>
            <p:nvPr/>
          </p:nvSpPr>
          <p:spPr>
            <a:xfrm>
              <a:off x="1799607" y="1576868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ustomFields</a:t>
              </a:r>
              <a:endParaRPr lang="en-US" dirty="0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09A1ADB-2E27-F995-1F63-747742E8CF29}"/>
              </a:ext>
            </a:extLst>
          </p:cNvPr>
          <p:cNvGrpSpPr/>
          <p:nvPr/>
        </p:nvGrpSpPr>
        <p:grpSpPr>
          <a:xfrm>
            <a:off x="215117" y="3855842"/>
            <a:ext cx="4855763" cy="1151537"/>
            <a:chOff x="120555" y="1615002"/>
            <a:chExt cx="4855763" cy="1151537"/>
          </a:xfrm>
        </p:grpSpPr>
        <p:sp>
          <p:nvSpPr>
            <p:cNvPr id="76" name="Google Shape;229;g370fc456c4b_0_4">
              <a:extLst>
                <a:ext uri="{FF2B5EF4-FFF2-40B4-BE49-F238E27FC236}">
                  <a16:creationId xmlns:a16="http://schemas.microsoft.com/office/drawing/2014/main" id="{24467C66-0F91-3C9B-C0D7-2C5F031C04FC}"/>
                </a:ext>
              </a:extLst>
            </p:cNvPr>
            <p:cNvSpPr/>
            <p:nvPr/>
          </p:nvSpPr>
          <p:spPr>
            <a:xfrm>
              <a:off x="3565236" y="1615002"/>
              <a:ext cx="1411082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7" name="Google Shape;230;g370fc456c4b_0_4">
              <a:extLst>
                <a:ext uri="{FF2B5EF4-FFF2-40B4-BE49-F238E27FC236}">
                  <a16:creationId xmlns:a16="http://schemas.microsoft.com/office/drawing/2014/main" id="{E8427A65-37DD-2428-D9DF-71746313F10F}"/>
                </a:ext>
              </a:extLst>
            </p:cNvPr>
            <p:cNvCxnSpPr>
              <a:cxnSpLocks/>
            </p:cNvCxnSpPr>
            <p:nvPr/>
          </p:nvCxnSpPr>
          <p:spPr>
            <a:xfrm>
              <a:off x="1461057" y="1758739"/>
              <a:ext cx="210417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C225DD47-9A0C-59E4-0007-64B52942ED5E}"/>
                </a:ext>
              </a:extLst>
            </p:cNvPr>
            <p:cNvSpPr/>
            <p:nvPr/>
          </p:nvSpPr>
          <p:spPr>
            <a:xfrm>
              <a:off x="120555" y="1615003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Item</a:t>
              </a:r>
              <a:endParaRPr lang="en-US" dirty="0"/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F229D9B2-1990-9488-52A8-4E63CA0A038C}"/>
              </a:ext>
            </a:extLst>
          </p:cNvPr>
          <p:cNvGrpSpPr/>
          <p:nvPr/>
        </p:nvGrpSpPr>
        <p:grpSpPr>
          <a:xfrm>
            <a:off x="215116" y="4145706"/>
            <a:ext cx="3360687" cy="669136"/>
            <a:chOff x="1543288" y="1615003"/>
            <a:chExt cx="3360687" cy="669136"/>
          </a:xfrm>
        </p:grpSpPr>
        <p:sp>
          <p:nvSpPr>
            <p:cNvPr id="80" name="Google Shape;229;g370fc456c4b_0_4">
              <a:extLst>
                <a:ext uri="{FF2B5EF4-FFF2-40B4-BE49-F238E27FC236}">
                  <a16:creationId xmlns:a16="http://schemas.microsoft.com/office/drawing/2014/main" id="{615F4AA7-3A28-718A-10C5-FD4D7BB3A20B}"/>
                </a:ext>
              </a:extLst>
            </p:cNvPr>
            <p:cNvSpPr/>
            <p:nvPr/>
          </p:nvSpPr>
          <p:spPr>
            <a:xfrm>
              <a:off x="3565236" y="1615003"/>
              <a:ext cx="1338739" cy="23740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1" name="Google Shape;230;g370fc456c4b_0_4">
              <a:extLst>
                <a:ext uri="{FF2B5EF4-FFF2-40B4-BE49-F238E27FC236}">
                  <a16:creationId xmlns:a16="http://schemas.microsoft.com/office/drawing/2014/main" id="{AC2A186C-8FB3-31FA-40DE-58322705818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83789" y="1758739"/>
              <a:ext cx="681447" cy="38166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A26EE254-C1EC-7600-E87D-E8AC0EEDB924}"/>
                </a:ext>
              </a:extLst>
            </p:cNvPr>
            <p:cNvSpPr/>
            <p:nvPr/>
          </p:nvSpPr>
          <p:spPr>
            <a:xfrm>
              <a:off x="1543288" y="1996667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Value</a:t>
              </a:r>
              <a:endParaRPr lang="en-US" dirty="0"/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F7380682-B685-0F84-9AED-0689DC1E67D3}"/>
              </a:ext>
            </a:extLst>
          </p:cNvPr>
          <p:cNvGrpSpPr/>
          <p:nvPr/>
        </p:nvGrpSpPr>
        <p:grpSpPr>
          <a:xfrm>
            <a:off x="6965900" y="3328035"/>
            <a:ext cx="4972481" cy="1922813"/>
            <a:chOff x="3565236" y="843726"/>
            <a:chExt cx="4972481" cy="1922813"/>
          </a:xfrm>
        </p:grpSpPr>
        <p:sp>
          <p:nvSpPr>
            <p:cNvPr id="84" name="Google Shape;229;g370fc456c4b_0_4">
              <a:extLst>
                <a:ext uri="{FF2B5EF4-FFF2-40B4-BE49-F238E27FC236}">
                  <a16:creationId xmlns:a16="http://schemas.microsoft.com/office/drawing/2014/main" id="{922EC4C5-A082-BF3A-A05F-54DB7499DAA0}"/>
                </a:ext>
              </a:extLst>
            </p:cNvPr>
            <p:cNvSpPr/>
            <p:nvPr/>
          </p:nvSpPr>
          <p:spPr>
            <a:xfrm>
              <a:off x="3565236" y="1615002"/>
              <a:ext cx="3224050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5" name="Google Shape;230;g370fc456c4b_0_4">
              <a:extLst>
                <a:ext uri="{FF2B5EF4-FFF2-40B4-BE49-F238E27FC236}">
                  <a16:creationId xmlns:a16="http://schemas.microsoft.com/office/drawing/2014/main" id="{136ABA7D-FC61-721A-9588-0065EA01146A}"/>
                </a:ext>
              </a:extLst>
            </p:cNvPr>
            <p:cNvCxnSpPr>
              <a:cxnSpLocks/>
              <a:stCxn id="86" idx="2"/>
              <a:endCxn id="84" idx="3"/>
            </p:cNvCxnSpPr>
            <p:nvPr/>
          </p:nvCxnSpPr>
          <p:spPr>
            <a:xfrm flipH="1">
              <a:off x="6789286" y="1131198"/>
              <a:ext cx="1078181" cy="105957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1F5ECCE4-3DD7-9E0C-AA8B-CF8B8C99410B}"/>
                </a:ext>
              </a:extLst>
            </p:cNvPr>
            <p:cNvSpPr/>
            <p:nvPr/>
          </p:nvSpPr>
          <p:spPr>
            <a:xfrm>
              <a:off x="7197216" y="843726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</a:t>
              </a:r>
              <a:endParaRPr lang="en-US" dirty="0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9BA9FFC4-3716-6D90-6057-C7B645F2D0FE}"/>
              </a:ext>
            </a:extLst>
          </p:cNvPr>
          <p:cNvGrpSpPr/>
          <p:nvPr/>
        </p:nvGrpSpPr>
        <p:grpSpPr>
          <a:xfrm>
            <a:off x="215116" y="5027008"/>
            <a:ext cx="6438811" cy="1151537"/>
            <a:chOff x="1765149" y="1615002"/>
            <a:chExt cx="6438811" cy="1151537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DE79D67D-1E5E-D21B-B246-67D97168ED0D}"/>
                </a:ext>
              </a:extLst>
            </p:cNvPr>
            <p:cNvSpPr/>
            <p:nvPr/>
          </p:nvSpPr>
          <p:spPr>
            <a:xfrm>
              <a:off x="3565235" y="1615002"/>
              <a:ext cx="4638725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CF3C72D3-514B-B0EB-A0F1-7FA3680E15CF}"/>
                </a:ext>
              </a:extLst>
            </p:cNvPr>
            <p:cNvCxnSpPr>
              <a:cxnSpLocks/>
            </p:cNvCxnSpPr>
            <p:nvPr/>
          </p:nvCxnSpPr>
          <p:spPr>
            <a:xfrm>
              <a:off x="3105650" y="2128635"/>
              <a:ext cx="45958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688CEFBD-DC2D-C717-F691-C5BEB9A400D0}"/>
                </a:ext>
              </a:extLst>
            </p:cNvPr>
            <p:cNvSpPr/>
            <p:nvPr/>
          </p:nvSpPr>
          <p:spPr>
            <a:xfrm>
              <a:off x="1765149" y="1994370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ttachment</a:t>
              </a:r>
              <a:endParaRPr lang="en-US" dirty="0"/>
            </a:p>
          </p:txBody>
        </p:sp>
      </p:grp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4613D08F-37C4-8FA3-AFFC-EEF1D44A00D7}"/>
              </a:ext>
            </a:extLst>
          </p:cNvPr>
          <p:cNvSpPr/>
          <p:nvPr/>
        </p:nvSpPr>
        <p:spPr>
          <a:xfrm>
            <a:off x="883239" y="1692280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ge</a:t>
            </a:r>
            <a:endParaRPr lang="en-US" dirty="0"/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E429A694-CBE6-2412-0709-05E117533AFD}"/>
              </a:ext>
            </a:extLst>
          </p:cNvPr>
          <p:cNvSpPr/>
          <p:nvPr/>
        </p:nvSpPr>
        <p:spPr>
          <a:xfrm>
            <a:off x="10612950" y="1588047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BE302C48-7776-2B3E-0AEF-E450FDCE10E6}"/>
              </a:ext>
            </a:extLst>
          </p:cNvPr>
          <p:cNvGrpSpPr/>
          <p:nvPr/>
        </p:nvGrpSpPr>
        <p:grpSpPr>
          <a:xfrm>
            <a:off x="2842021" y="5075809"/>
            <a:ext cx="2499203" cy="348100"/>
            <a:chOff x="6527964" y="4230041"/>
            <a:chExt cx="2499203" cy="348100"/>
          </a:xfrm>
        </p:grpSpPr>
        <p:sp>
          <p:nvSpPr>
            <p:cNvPr id="94" name="Google Shape;229;g370fc456c4b_0_4">
              <a:extLst>
                <a:ext uri="{FF2B5EF4-FFF2-40B4-BE49-F238E27FC236}">
                  <a16:creationId xmlns:a16="http://schemas.microsoft.com/office/drawing/2014/main" id="{7C9F08D7-B703-D485-51D6-51A25BB34E5C}"/>
                </a:ext>
              </a:extLst>
            </p:cNvPr>
            <p:cNvSpPr/>
            <p:nvPr/>
          </p:nvSpPr>
          <p:spPr>
            <a:xfrm>
              <a:off x="6527964" y="4405179"/>
              <a:ext cx="730851" cy="17296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5" name="Google Shape;230;g370fc456c4b_0_4">
              <a:extLst>
                <a:ext uri="{FF2B5EF4-FFF2-40B4-BE49-F238E27FC236}">
                  <a16:creationId xmlns:a16="http://schemas.microsoft.com/office/drawing/2014/main" id="{E6E9F7AF-AF4D-FF3D-FC74-633951E9344F}"/>
                </a:ext>
              </a:extLst>
            </p:cNvPr>
            <p:cNvCxnSpPr>
              <a:cxnSpLocks/>
              <a:stCxn id="96" idx="1"/>
              <a:endCxn id="94" idx="3"/>
            </p:cNvCxnSpPr>
            <p:nvPr/>
          </p:nvCxnSpPr>
          <p:spPr>
            <a:xfrm flipH="1">
              <a:off x="7258815" y="4373777"/>
              <a:ext cx="323694" cy="11788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3D2F6000-9DF3-2506-1DA6-F8F31E300504}"/>
                </a:ext>
              </a:extLst>
            </p:cNvPr>
            <p:cNvSpPr/>
            <p:nvPr/>
          </p:nvSpPr>
          <p:spPr>
            <a:xfrm>
              <a:off x="7582509" y="4230041"/>
              <a:ext cx="144465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ttachment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3E354551-D7E0-6A05-D7EA-11D61EDD7B19}"/>
              </a:ext>
            </a:extLst>
          </p:cNvPr>
          <p:cNvGrpSpPr/>
          <p:nvPr/>
        </p:nvGrpSpPr>
        <p:grpSpPr>
          <a:xfrm>
            <a:off x="2842021" y="5423909"/>
            <a:ext cx="1969116" cy="287472"/>
            <a:chOff x="6527964" y="4392261"/>
            <a:chExt cx="1969116" cy="287472"/>
          </a:xfrm>
        </p:grpSpPr>
        <p:sp>
          <p:nvSpPr>
            <p:cNvPr id="98" name="Google Shape;229;g370fc456c4b_0_4">
              <a:extLst>
                <a:ext uri="{FF2B5EF4-FFF2-40B4-BE49-F238E27FC236}">
                  <a16:creationId xmlns:a16="http://schemas.microsoft.com/office/drawing/2014/main" id="{FBC4ABAD-7864-B50E-34AA-B99320D23752}"/>
                </a:ext>
              </a:extLst>
            </p:cNvPr>
            <p:cNvSpPr/>
            <p:nvPr/>
          </p:nvSpPr>
          <p:spPr>
            <a:xfrm>
              <a:off x="6527964" y="4405179"/>
              <a:ext cx="730851" cy="12453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9" name="Google Shape;230;g370fc456c4b_0_4">
              <a:extLst>
                <a:ext uri="{FF2B5EF4-FFF2-40B4-BE49-F238E27FC236}">
                  <a16:creationId xmlns:a16="http://schemas.microsoft.com/office/drawing/2014/main" id="{F64DC640-0A7B-EE2B-4C8D-6D14FA6F47F6}"/>
                </a:ext>
              </a:extLst>
            </p:cNvPr>
            <p:cNvCxnSpPr>
              <a:cxnSpLocks/>
              <a:stCxn id="100" idx="1"/>
              <a:endCxn id="98" idx="3"/>
            </p:cNvCxnSpPr>
            <p:nvPr/>
          </p:nvCxnSpPr>
          <p:spPr>
            <a:xfrm flipH="1" flipV="1">
              <a:off x="7258815" y="4467449"/>
              <a:ext cx="323694" cy="6854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B9D9A3DC-B1AF-E503-08BB-28F13FD41740}"/>
                </a:ext>
              </a:extLst>
            </p:cNvPr>
            <p:cNvSpPr/>
            <p:nvPr/>
          </p:nvSpPr>
          <p:spPr>
            <a:xfrm>
              <a:off x="7582509" y="4392261"/>
              <a:ext cx="91457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6DA2D001-3FD5-992A-1C09-B7659B2CC1C0}"/>
              </a:ext>
            </a:extLst>
          </p:cNvPr>
          <p:cNvGrpSpPr/>
          <p:nvPr/>
        </p:nvGrpSpPr>
        <p:grpSpPr>
          <a:xfrm>
            <a:off x="1980746" y="2375754"/>
            <a:ext cx="2228859" cy="287472"/>
            <a:chOff x="6527964" y="4318236"/>
            <a:chExt cx="2228859" cy="287472"/>
          </a:xfrm>
        </p:grpSpPr>
        <p:sp>
          <p:nvSpPr>
            <p:cNvPr id="106" name="Google Shape;229;g370fc456c4b_0_4">
              <a:extLst>
                <a:ext uri="{FF2B5EF4-FFF2-40B4-BE49-F238E27FC236}">
                  <a16:creationId xmlns:a16="http://schemas.microsoft.com/office/drawing/2014/main" id="{C250F700-84B1-BC24-4638-95C718D3849F}"/>
                </a:ext>
              </a:extLst>
            </p:cNvPr>
            <p:cNvSpPr/>
            <p:nvPr/>
          </p:nvSpPr>
          <p:spPr>
            <a:xfrm>
              <a:off x="6527964" y="4355580"/>
              <a:ext cx="1141004" cy="22256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7" name="Google Shape;230;g370fc456c4b_0_4">
              <a:extLst>
                <a:ext uri="{FF2B5EF4-FFF2-40B4-BE49-F238E27FC236}">
                  <a16:creationId xmlns:a16="http://schemas.microsoft.com/office/drawing/2014/main" id="{BACF91E3-0341-49C7-9E5A-BB8AA017250A}"/>
                </a:ext>
              </a:extLst>
            </p:cNvPr>
            <p:cNvCxnSpPr>
              <a:cxnSpLocks/>
              <a:stCxn id="108" idx="1"/>
              <a:endCxn id="106" idx="3"/>
            </p:cNvCxnSpPr>
            <p:nvPr/>
          </p:nvCxnSpPr>
          <p:spPr>
            <a:xfrm flipH="1">
              <a:off x="7668968" y="4461972"/>
              <a:ext cx="246314" cy="488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BEC5A979-500C-1B6E-08B7-24B6617FE4DF}"/>
                </a:ext>
              </a:extLst>
            </p:cNvPr>
            <p:cNvSpPr/>
            <p:nvPr/>
          </p:nvSpPr>
          <p:spPr>
            <a:xfrm>
              <a:off x="7915282" y="4318236"/>
              <a:ext cx="84154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843C5A6B-EA81-629E-4321-5FB47F1C2E4C}"/>
              </a:ext>
            </a:extLst>
          </p:cNvPr>
          <p:cNvGrpSpPr/>
          <p:nvPr/>
        </p:nvGrpSpPr>
        <p:grpSpPr>
          <a:xfrm>
            <a:off x="2515374" y="1848278"/>
            <a:ext cx="2762383" cy="287472"/>
            <a:chOff x="6527964" y="4323685"/>
            <a:chExt cx="2762383" cy="287472"/>
          </a:xfrm>
        </p:grpSpPr>
        <p:sp>
          <p:nvSpPr>
            <p:cNvPr id="110" name="Google Shape;229;g370fc456c4b_0_4">
              <a:extLst>
                <a:ext uri="{FF2B5EF4-FFF2-40B4-BE49-F238E27FC236}">
                  <a16:creationId xmlns:a16="http://schemas.microsoft.com/office/drawing/2014/main" id="{FFCB47A0-3D80-6395-903B-B651B217F0A2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1" name="Google Shape;230;g370fc456c4b_0_4">
              <a:extLst>
                <a:ext uri="{FF2B5EF4-FFF2-40B4-BE49-F238E27FC236}">
                  <a16:creationId xmlns:a16="http://schemas.microsoft.com/office/drawing/2014/main" id="{7A65E716-C27B-0AAB-26F0-68B1A06815F4}"/>
                </a:ext>
              </a:extLst>
            </p:cNvPr>
            <p:cNvCxnSpPr>
              <a:cxnSpLocks/>
              <a:endCxn id="110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2" name="Rectangle: Rounded Corners 111">
              <a:extLst>
                <a:ext uri="{FF2B5EF4-FFF2-40B4-BE49-F238E27FC236}">
                  <a16:creationId xmlns:a16="http://schemas.microsoft.com/office/drawing/2014/main" id="{55DE2F1E-AE86-9DA0-509B-7FC45F74EC7B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8F891707-8CB1-41A2-6893-1217E47D96F7}"/>
              </a:ext>
            </a:extLst>
          </p:cNvPr>
          <p:cNvGrpSpPr/>
          <p:nvPr/>
        </p:nvGrpSpPr>
        <p:grpSpPr>
          <a:xfrm>
            <a:off x="1986159" y="1383083"/>
            <a:ext cx="1653363" cy="287472"/>
            <a:chOff x="6580814" y="4323685"/>
            <a:chExt cx="1653363" cy="287472"/>
          </a:xfrm>
        </p:grpSpPr>
        <p:sp>
          <p:nvSpPr>
            <p:cNvPr id="114" name="Google Shape;229;g370fc456c4b_0_4">
              <a:extLst>
                <a:ext uri="{FF2B5EF4-FFF2-40B4-BE49-F238E27FC236}">
                  <a16:creationId xmlns:a16="http://schemas.microsoft.com/office/drawing/2014/main" id="{192B72FA-DC4A-B532-F49A-4A8E6E1240F7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5" name="Google Shape;230;g370fc456c4b_0_4">
              <a:extLst>
                <a:ext uri="{FF2B5EF4-FFF2-40B4-BE49-F238E27FC236}">
                  <a16:creationId xmlns:a16="http://schemas.microsoft.com/office/drawing/2014/main" id="{C8E4D8BE-66A3-F1EA-6678-CB2CFC698054}"/>
                </a:ext>
              </a:extLst>
            </p:cNvPr>
            <p:cNvCxnSpPr>
              <a:cxnSpLocks/>
              <a:endCxn id="114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18151A86-EEF7-B31C-CD42-C4A4907F1E5C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65997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215CB0-BC9D-1A7B-E61E-A3BDFCAE63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AB7E3D7-9A5F-8E88-51D7-331F05354890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1C4ABF6-B9F9-5423-31A4-D192AC185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IN TRELLO SYSTEM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E63776F-8312-06B5-4B5E-7A0A76D26F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6040013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E252399B-C6F1-A555-EF95-AB527A2EADD7}"/>
              </a:ext>
            </a:extLst>
          </p:cNvPr>
          <p:cNvGrpSpPr/>
          <p:nvPr/>
        </p:nvGrpSpPr>
        <p:grpSpPr>
          <a:xfrm>
            <a:off x="1995628" y="1496960"/>
            <a:ext cx="1653363" cy="287472"/>
            <a:chOff x="6580814" y="4323685"/>
            <a:chExt cx="1653363" cy="287472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200890A0-77BE-4CCB-C306-D4A7E0EA3610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D8F0FB28-3EB8-F113-783A-AF0BF80D0DFA}"/>
                </a:ext>
              </a:extLst>
            </p:cNvPr>
            <p:cNvCxnSpPr>
              <a:cxnSpLocks/>
              <a:endCxn id="7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5CDF0FA1-2FEA-AAC0-C0C6-766CB20E96FB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5E9903F-FB8E-C317-F208-511D11CB04B6}"/>
              </a:ext>
            </a:extLst>
          </p:cNvPr>
          <p:cNvGrpSpPr/>
          <p:nvPr/>
        </p:nvGrpSpPr>
        <p:grpSpPr>
          <a:xfrm>
            <a:off x="2500584" y="1973261"/>
            <a:ext cx="2762383" cy="287472"/>
            <a:chOff x="6527964" y="4323685"/>
            <a:chExt cx="2762383" cy="287472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F0B061CE-E3F2-877F-4BF9-887DBB807BEC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41124BC5-2691-B805-147C-7C65BF68E7CE}"/>
                </a:ext>
              </a:extLst>
            </p:cNvPr>
            <p:cNvCxnSpPr>
              <a:cxnSpLocks/>
              <a:endCxn id="11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C0E1CA35-BA5B-F9E1-3739-BD62A298BB03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BF7A590-1E51-E953-E732-C3C96A4C410C}"/>
              </a:ext>
            </a:extLst>
          </p:cNvPr>
          <p:cNvGrpSpPr/>
          <p:nvPr/>
        </p:nvGrpSpPr>
        <p:grpSpPr>
          <a:xfrm>
            <a:off x="535511" y="2865202"/>
            <a:ext cx="6041678" cy="1451897"/>
            <a:chOff x="2196740" y="1520076"/>
            <a:chExt cx="6041678" cy="1451897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E3E268B3-63C2-ED97-5508-1D05A11EC493}"/>
                </a:ext>
              </a:extLst>
            </p:cNvPr>
            <p:cNvSpPr/>
            <p:nvPr/>
          </p:nvSpPr>
          <p:spPr>
            <a:xfrm>
              <a:off x="3565236" y="1520076"/>
              <a:ext cx="4673182" cy="145189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B8865F72-D0DF-F9E3-4F99-5A5EE4468649}"/>
                </a:ext>
              </a:extLst>
            </p:cNvPr>
            <p:cNvCxnSpPr>
              <a:cxnSpLocks/>
              <a:stCxn id="17" idx="3"/>
            </p:cNvCxnSpPr>
            <p:nvPr/>
          </p:nvCxnSpPr>
          <p:spPr>
            <a:xfrm>
              <a:off x="3140108" y="1720604"/>
              <a:ext cx="425128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43CD48EC-25FC-7152-D02A-7E7F26BC2F46}"/>
                </a:ext>
              </a:extLst>
            </p:cNvPr>
            <p:cNvSpPr/>
            <p:nvPr/>
          </p:nvSpPr>
          <p:spPr>
            <a:xfrm>
              <a:off x="2196740" y="1576868"/>
              <a:ext cx="94336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</a:t>
              </a:r>
              <a:endParaRPr lang="en-US" dirty="0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C08205-37D2-8EA2-AED8-B8D8BBF0ED86}"/>
              </a:ext>
            </a:extLst>
          </p:cNvPr>
          <p:cNvGrpSpPr/>
          <p:nvPr/>
        </p:nvGrpSpPr>
        <p:grpSpPr>
          <a:xfrm>
            <a:off x="138378" y="3123153"/>
            <a:ext cx="6273147" cy="669136"/>
            <a:chOff x="1670567" y="1615003"/>
            <a:chExt cx="6273147" cy="669136"/>
          </a:xfrm>
        </p:grpSpPr>
        <p:sp>
          <p:nvSpPr>
            <p:cNvPr id="19" name="Google Shape;229;g370fc456c4b_0_4">
              <a:extLst>
                <a:ext uri="{FF2B5EF4-FFF2-40B4-BE49-F238E27FC236}">
                  <a16:creationId xmlns:a16="http://schemas.microsoft.com/office/drawing/2014/main" id="{0C70436A-98AE-8596-13E0-27501C1B2B29}"/>
                </a:ext>
              </a:extLst>
            </p:cNvPr>
            <p:cNvSpPr/>
            <p:nvPr/>
          </p:nvSpPr>
          <p:spPr>
            <a:xfrm>
              <a:off x="3565236" y="1615003"/>
              <a:ext cx="4378478" cy="21835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" name="Google Shape;230;g370fc456c4b_0_4">
              <a:extLst>
                <a:ext uri="{FF2B5EF4-FFF2-40B4-BE49-F238E27FC236}">
                  <a16:creationId xmlns:a16="http://schemas.microsoft.com/office/drawing/2014/main" id="{A26FEACA-42BB-2598-AB7E-44072F2788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83789" y="1758739"/>
              <a:ext cx="681447" cy="38166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306A07B1-72E2-B91E-B81C-161A528F0D20}"/>
                </a:ext>
              </a:extLst>
            </p:cNvPr>
            <p:cNvSpPr/>
            <p:nvPr/>
          </p:nvSpPr>
          <p:spPr>
            <a:xfrm>
              <a:off x="1670567" y="1996667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</a:t>
              </a:r>
              <a:endParaRPr lang="en-US" dirty="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637B7AB-DCC4-C3D6-A94D-126C6E6CB899}"/>
              </a:ext>
            </a:extLst>
          </p:cNvPr>
          <p:cNvGrpSpPr/>
          <p:nvPr/>
        </p:nvGrpSpPr>
        <p:grpSpPr>
          <a:xfrm>
            <a:off x="4467222" y="3441996"/>
            <a:ext cx="1699091" cy="1445541"/>
            <a:chOff x="2089106" y="1615003"/>
            <a:chExt cx="1699091" cy="1445541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1F8B51CD-B774-3E94-860F-6D827A597D42}"/>
                </a:ext>
              </a:extLst>
            </p:cNvPr>
            <p:cNvSpPr/>
            <p:nvPr/>
          </p:nvSpPr>
          <p:spPr>
            <a:xfrm>
              <a:off x="3583818" y="1615003"/>
              <a:ext cx="204379" cy="17888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55EC0176-D519-A5DB-13CB-061A9FE38B6A}"/>
                </a:ext>
              </a:extLst>
            </p:cNvPr>
            <p:cNvCxnSpPr>
              <a:cxnSpLocks/>
              <a:endCxn id="23" idx="2"/>
            </p:cNvCxnSpPr>
            <p:nvPr/>
          </p:nvCxnSpPr>
          <p:spPr>
            <a:xfrm flipV="1">
              <a:off x="3003506" y="1793886"/>
              <a:ext cx="682502" cy="97559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DAB946DD-9104-3889-B374-FE417E930196}"/>
                </a:ext>
              </a:extLst>
            </p:cNvPr>
            <p:cNvSpPr/>
            <p:nvPr/>
          </p:nvSpPr>
          <p:spPr>
            <a:xfrm>
              <a:off x="2089106" y="2773072"/>
              <a:ext cx="94230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54B5978-E034-2608-5F48-EE906AA1B967}"/>
              </a:ext>
            </a:extLst>
          </p:cNvPr>
          <p:cNvGrpSpPr/>
          <p:nvPr/>
        </p:nvGrpSpPr>
        <p:grpSpPr>
          <a:xfrm>
            <a:off x="2031286" y="3728152"/>
            <a:ext cx="1883529" cy="588947"/>
            <a:chOff x="6562598" y="4358984"/>
            <a:chExt cx="1883529" cy="588947"/>
          </a:xfrm>
        </p:grpSpPr>
        <p:sp>
          <p:nvSpPr>
            <p:cNvPr id="28" name="Google Shape;229;g370fc456c4b_0_4">
              <a:extLst>
                <a:ext uri="{FF2B5EF4-FFF2-40B4-BE49-F238E27FC236}">
                  <a16:creationId xmlns:a16="http://schemas.microsoft.com/office/drawing/2014/main" id="{B35042D9-5F93-1BEE-A780-9D1D146CA342}"/>
                </a:ext>
              </a:extLst>
            </p:cNvPr>
            <p:cNvSpPr/>
            <p:nvPr/>
          </p:nvSpPr>
          <p:spPr>
            <a:xfrm>
              <a:off x="6562598" y="4358984"/>
              <a:ext cx="176649" cy="21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9" name="Google Shape;230;g370fc456c4b_0_4">
              <a:extLst>
                <a:ext uri="{FF2B5EF4-FFF2-40B4-BE49-F238E27FC236}">
                  <a16:creationId xmlns:a16="http://schemas.microsoft.com/office/drawing/2014/main" id="{AFAF9211-114C-ABAF-81A4-87C63A5CCBB0}"/>
                </a:ext>
              </a:extLst>
            </p:cNvPr>
            <p:cNvCxnSpPr>
              <a:cxnSpLocks/>
              <a:stCxn id="30" idx="1"/>
              <a:endCxn id="28" idx="2"/>
            </p:cNvCxnSpPr>
            <p:nvPr/>
          </p:nvCxnSpPr>
          <p:spPr>
            <a:xfrm flipH="1" flipV="1">
              <a:off x="6650923" y="4577334"/>
              <a:ext cx="182678" cy="22686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BE781B03-24F0-85FD-D9E9-79B637DF4DD5}"/>
                </a:ext>
              </a:extLst>
            </p:cNvPr>
            <p:cNvSpPr/>
            <p:nvPr/>
          </p:nvSpPr>
          <p:spPr>
            <a:xfrm>
              <a:off x="6833601" y="4660459"/>
              <a:ext cx="161252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F40E162-76CF-0444-F949-66453BD06CE7}"/>
              </a:ext>
            </a:extLst>
          </p:cNvPr>
          <p:cNvGrpSpPr/>
          <p:nvPr/>
        </p:nvGrpSpPr>
        <p:grpSpPr>
          <a:xfrm>
            <a:off x="2249415" y="3672940"/>
            <a:ext cx="2003297" cy="287472"/>
            <a:chOff x="6562598" y="4296771"/>
            <a:chExt cx="2003297" cy="287472"/>
          </a:xfrm>
        </p:grpSpPr>
        <p:sp>
          <p:nvSpPr>
            <p:cNvPr id="53" name="Google Shape;229;g370fc456c4b_0_4">
              <a:extLst>
                <a:ext uri="{FF2B5EF4-FFF2-40B4-BE49-F238E27FC236}">
                  <a16:creationId xmlns:a16="http://schemas.microsoft.com/office/drawing/2014/main" id="{56433FF4-DD52-34BA-8CC0-7D7DC7114CF1}"/>
                </a:ext>
              </a:extLst>
            </p:cNvPr>
            <p:cNvSpPr/>
            <p:nvPr/>
          </p:nvSpPr>
          <p:spPr>
            <a:xfrm>
              <a:off x="6562598" y="4358984"/>
              <a:ext cx="176649" cy="21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4" name="Google Shape;230;g370fc456c4b_0_4">
              <a:extLst>
                <a:ext uri="{FF2B5EF4-FFF2-40B4-BE49-F238E27FC236}">
                  <a16:creationId xmlns:a16="http://schemas.microsoft.com/office/drawing/2014/main" id="{691A5C9E-E5A4-0F47-E995-7E55DCD685AE}"/>
                </a:ext>
              </a:extLst>
            </p:cNvPr>
            <p:cNvCxnSpPr>
              <a:cxnSpLocks/>
              <a:stCxn id="55" idx="1"/>
            </p:cNvCxnSpPr>
            <p:nvPr/>
          </p:nvCxnSpPr>
          <p:spPr>
            <a:xfrm flipH="1" flipV="1">
              <a:off x="6780727" y="4435586"/>
              <a:ext cx="172642" cy="49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B8F4E727-5EE0-9F51-D8CC-D4FB5D8AA22B}"/>
                </a:ext>
              </a:extLst>
            </p:cNvPr>
            <p:cNvSpPr/>
            <p:nvPr/>
          </p:nvSpPr>
          <p:spPr>
            <a:xfrm>
              <a:off x="6953369" y="4296771"/>
              <a:ext cx="161252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C2EAF215-48BA-16F3-CB72-520127591001}"/>
              </a:ext>
            </a:extLst>
          </p:cNvPr>
          <p:cNvGrpSpPr/>
          <p:nvPr/>
        </p:nvGrpSpPr>
        <p:grpSpPr>
          <a:xfrm>
            <a:off x="4373748" y="3385468"/>
            <a:ext cx="1545998" cy="287472"/>
            <a:chOff x="5474738" y="4310774"/>
            <a:chExt cx="1545998" cy="287472"/>
          </a:xfrm>
        </p:grpSpPr>
        <p:sp>
          <p:nvSpPr>
            <p:cNvPr id="60" name="Google Shape;229;g370fc456c4b_0_4">
              <a:extLst>
                <a:ext uri="{FF2B5EF4-FFF2-40B4-BE49-F238E27FC236}">
                  <a16:creationId xmlns:a16="http://schemas.microsoft.com/office/drawing/2014/main" id="{F6EAC7EF-6C0A-9D05-BC61-65795BDA7A32}"/>
                </a:ext>
              </a:extLst>
            </p:cNvPr>
            <p:cNvSpPr/>
            <p:nvPr/>
          </p:nvSpPr>
          <p:spPr>
            <a:xfrm>
              <a:off x="6510518" y="4367302"/>
              <a:ext cx="510218" cy="17888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1" name="Google Shape;230;g370fc456c4b_0_4">
              <a:extLst>
                <a:ext uri="{FF2B5EF4-FFF2-40B4-BE49-F238E27FC236}">
                  <a16:creationId xmlns:a16="http://schemas.microsoft.com/office/drawing/2014/main" id="{F9908AE6-AE9F-63FD-03C6-A66D121B7188}"/>
                </a:ext>
              </a:extLst>
            </p:cNvPr>
            <p:cNvCxnSpPr>
              <a:cxnSpLocks/>
              <a:endCxn id="60" idx="1"/>
            </p:cNvCxnSpPr>
            <p:nvPr/>
          </p:nvCxnSpPr>
          <p:spPr>
            <a:xfrm flipV="1">
              <a:off x="6287556" y="4456744"/>
              <a:ext cx="222962" cy="1141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4923B177-45B7-624F-32FD-66813EB92524}"/>
                </a:ext>
              </a:extLst>
            </p:cNvPr>
            <p:cNvSpPr/>
            <p:nvPr/>
          </p:nvSpPr>
          <p:spPr>
            <a:xfrm>
              <a:off x="5474738" y="4310774"/>
              <a:ext cx="82321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eD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8BFF99AC-8973-F015-FEB8-D6BC801E2E1E}"/>
              </a:ext>
            </a:extLst>
          </p:cNvPr>
          <p:cNvSpPr/>
          <p:nvPr/>
        </p:nvSpPr>
        <p:spPr>
          <a:xfrm>
            <a:off x="3772076" y="4600065"/>
            <a:ext cx="57748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pic>
        <p:nvPicPr>
          <p:cNvPr id="83" name="Picture 82">
            <a:extLst>
              <a:ext uri="{FF2B5EF4-FFF2-40B4-BE49-F238E27FC236}">
                <a16:creationId xmlns:a16="http://schemas.microsoft.com/office/drawing/2014/main" id="{47B41DFC-54A5-F5C6-AC21-3B7F3600BA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31246" y="1752537"/>
            <a:ext cx="2143909" cy="2697953"/>
          </a:xfrm>
          <a:prstGeom prst="rect">
            <a:avLst/>
          </a:prstGeom>
        </p:spPr>
      </p:pic>
      <p:grpSp>
        <p:nvGrpSpPr>
          <p:cNvPr id="84" name="Group 83">
            <a:extLst>
              <a:ext uri="{FF2B5EF4-FFF2-40B4-BE49-F238E27FC236}">
                <a16:creationId xmlns:a16="http://schemas.microsoft.com/office/drawing/2014/main" id="{569D46F0-F01A-FE61-2C65-167B0763DBA6}"/>
              </a:ext>
            </a:extLst>
          </p:cNvPr>
          <p:cNvGrpSpPr/>
          <p:nvPr/>
        </p:nvGrpSpPr>
        <p:grpSpPr>
          <a:xfrm>
            <a:off x="10659993" y="3602531"/>
            <a:ext cx="806370" cy="1091373"/>
            <a:chOff x="6489606" y="4355580"/>
            <a:chExt cx="806370" cy="1091373"/>
          </a:xfrm>
        </p:grpSpPr>
        <p:sp>
          <p:nvSpPr>
            <p:cNvPr id="85" name="Google Shape;229;g370fc456c4b_0_4">
              <a:extLst>
                <a:ext uri="{FF2B5EF4-FFF2-40B4-BE49-F238E27FC236}">
                  <a16:creationId xmlns:a16="http://schemas.microsoft.com/office/drawing/2014/main" id="{F65907B7-9B80-A0A5-0147-5C5E0000F11F}"/>
                </a:ext>
              </a:extLst>
            </p:cNvPr>
            <p:cNvSpPr/>
            <p:nvPr/>
          </p:nvSpPr>
          <p:spPr>
            <a:xfrm>
              <a:off x="6580814" y="4355580"/>
              <a:ext cx="623954" cy="47251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6" name="Google Shape;230;g370fc456c4b_0_4">
              <a:extLst>
                <a:ext uri="{FF2B5EF4-FFF2-40B4-BE49-F238E27FC236}">
                  <a16:creationId xmlns:a16="http://schemas.microsoft.com/office/drawing/2014/main" id="{E5E16959-8A9E-83F8-FB82-28F2E9ECD82B}"/>
                </a:ext>
              </a:extLst>
            </p:cNvPr>
            <p:cNvCxnSpPr>
              <a:cxnSpLocks/>
              <a:endCxn id="85" idx="2"/>
            </p:cNvCxnSpPr>
            <p:nvPr/>
          </p:nvCxnSpPr>
          <p:spPr>
            <a:xfrm flipV="1">
              <a:off x="6892791" y="4828092"/>
              <a:ext cx="0" cy="33511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7" name="Rectangle: Rounded Corners 86">
              <a:extLst>
                <a:ext uri="{FF2B5EF4-FFF2-40B4-BE49-F238E27FC236}">
                  <a16:creationId xmlns:a16="http://schemas.microsoft.com/office/drawing/2014/main" id="{8AD29B84-2902-914E-4A45-6F6A455D7877}"/>
                </a:ext>
              </a:extLst>
            </p:cNvPr>
            <p:cNvSpPr/>
            <p:nvPr/>
          </p:nvSpPr>
          <p:spPr>
            <a:xfrm>
              <a:off x="6489606" y="5159481"/>
              <a:ext cx="80637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osi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81291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71E812-D362-469A-320E-0B0CA4885B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1025121-7B54-A5A0-A091-6FE1A4A9DE64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944A57-BC45-5523-ED71-DE290030BE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MEMBER WORKSPACE IN TRELLO SYSTEM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0C51D51-FB4E-4136-5442-6D46F2A7A3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604322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D482D1B-351D-A164-F5C6-00A89FB8E2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34218" y="1697698"/>
            <a:ext cx="2917715" cy="996603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03CE4B35-3663-DC55-967C-464793402FBE}"/>
              </a:ext>
            </a:extLst>
          </p:cNvPr>
          <p:cNvGrpSpPr/>
          <p:nvPr/>
        </p:nvGrpSpPr>
        <p:grpSpPr>
          <a:xfrm>
            <a:off x="3381954" y="4491165"/>
            <a:ext cx="4135377" cy="2535001"/>
            <a:chOff x="2093095" y="1615002"/>
            <a:chExt cx="4135377" cy="2535001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74B36266-BACA-A607-6B96-797D9AF9D488}"/>
                </a:ext>
              </a:extLst>
            </p:cNvPr>
            <p:cNvSpPr/>
            <p:nvPr/>
          </p:nvSpPr>
          <p:spPr>
            <a:xfrm>
              <a:off x="3565236" y="1615002"/>
              <a:ext cx="2663236" cy="253500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D89A0ECF-8CC3-8871-A2FF-42E4FBEBBA7C}"/>
                </a:ext>
              </a:extLst>
            </p:cNvPr>
            <p:cNvCxnSpPr>
              <a:cxnSpLocks/>
              <a:stCxn id="32" idx="3"/>
            </p:cNvCxnSpPr>
            <p:nvPr/>
          </p:nvCxnSpPr>
          <p:spPr>
            <a:xfrm>
              <a:off x="2999870" y="1758739"/>
              <a:ext cx="56536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9D9E9F88-77ED-9369-531E-792623C0E5EA}"/>
                </a:ext>
              </a:extLst>
            </p:cNvPr>
            <p:cNvSpPr/>
            <p:nvPr/>
          </p:nvSpPr>
          <p:spPr>
            <a:xfrm>
              <a:off x="2093095" y="1615003"/>
              <a:ext cx="90677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6D23360-C1F2-8B04-55EB-1B4E250026C4}"/>
              </a:ext>
            </a:extLst>
          </p:cNvPr>
          <p:cNvGrpSpPr/>
          <p:nvPr/>
        </p:nvGrpSpPr>
        <p:grpSpPr>
          <a:xfrm>
            <a:off x="3315694" y="4556473"/>
            <a:ext cx="1823499" cy="803522"/>
            <a:chOff x="4942995" y="4328987"/>
            <a:chExt cx="1823499" cy="803522"/>
          </a:xfrm>
        </p:grpSpPr>
        <p:sp>
          <p:nvSpPr>
            <p:cNvPr id="36" name="Google Shape;229;g370fc456c4b_0_4">
              <a:extLst>
                <a:ext uri="{FF2B5EF4-FFF2-40B4-BE49-F238E27FC236}">
                  <a16:creationId xmlns:a16="http://schemas.microsoft.com/office/drawing/2014/main" id="{86B8D0AE-9C51-53D0-87AF-00EC5D6B659A}"/>
                </a:ext>
              </a:extLst>
            </p:cNvPr>
            <p:cNvSpPr/>
            <p:nvPr/>
          </p:nvSpPr>
          <p:spPr>
            <a:xfrm>
              <a:off x="6510518" y="4328987"/>
              <a:ext cx="255976" cy="25406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7" name="Google Shape;230;g370fc456c4b_0_4">
              <a:extLst>
                <a:ext uri="{FF2B5EF4-FFF2-40B4-BE49-F238E27FC236}">
                  <a16:creationId xmlns:a16="http://schemas.microsoft.com/office/drawing/2014/main" id="{0951B8E7-53EB-179A-33A4-DC25FDF245B5}"/>
                </a:ext>
              </a:extLst>
            </p:cNvPr>
            <p:cNvCxnSpPr>
              <a:cxnSpLocks/>
              <a:stCxn id="38" idx="3"/>
              <a:endCxn id="36" idx="2"/>
            </p:cNvCxnSpPr>
            <p:nvPr/>
          </p:nvCxnSpPr>
          <p:spPr>
            <a:xfrm flipV="1">
              <a:off x="5916031" y="4583052"/>
              <a:ext cx="722475" cy="4057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62AE97FD-196A-E08A-CACB-EC06E0FF3B97}"/>
                </a:ext>
              </a:extLst>
            </p:cNvPr>
            <p:cNvSpPr/>
            <p:nvPr/>
          </p:nvSpPr>
          <p:spPr>
            <a:xfrm>
              <a:off x="4942995" y="4845037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Avata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8E5B969E-A84F-F7BF-F1FD-C21B0ABC9AF6}"/>
              </a:ext>
            </a:extLst>
          </p:cNvPr>
          <p:cNvGrpSpPr/>
          <p:nvPr/>
        </p:nvGrpSpPr>
        <p:grpSpPr>
          <a:xfrm>
            <a:off x="6326589" y="3918347"/>
            <a:ext cx="1190742" cy="929298"/>
            <a:chOff x="6453385" y="3579935"/>
            <a:chExt cx="1190742" cy="929298"/>
          </a:xfrm>
        </p:grpSpPr>
        <p:sp>
          <p:nvSpPr>
            <p:cNvPr id="60" name="Google Shape;229;g370fc456c4b_0_4">
              <a:extLst>
                <a:ext uri="{FF2B5EF4-FFF2-40B4-BE49-F238E27FC236}">
                  <a16:creationId xmlns:a16="http://schemas.microsoft.com/office/drawing/2014/main" id="{E5878D5B-771E-41BB-752C-9656806C431D}"/>
                </a:ext>
              </a:extLst>
            </p:cNvPr>
            <p:cNvSpPr/>
            <p:nvPr/>
          </p:nvSpPr>
          <p:spPr>
            <a:xfrm>
              <a:off x="6453385" y="4347556"/>
              <a:ext cx="1190742" cy="16167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1" name="Google Shape;230;g370fc456c4b_0_4">
              <a:extLst>
                <a:ext uri="{FF2B5EF4-FFF2-40B4-BE49-F238E27FC236}">
                  <a16:creationId xmlns:a16="http://schemas.microsoft.com/office/drawing/2014/main" id="{4ACAFED5-26E5-F69C-6FC7-5BEFEBC5DA6E}"/>
                </a:ext>
              </a:extLst>
            </p:cNvPr>
            <p:cNvCxnSpPr>
              <a:cxnSpLocks/>
              <a:endCxn id="60" idx="0"/>
            </p:cNvCxnSpPr>
            <p:nvPr/>
          </p:nvCxnSpPr>
          <p:spPr>
            <a:xfrm>
              <a:off x="7048756" y="3869532"/>
              <a:ext cx="0" cy="47802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F5E8D5A0-36DC-AFB6-D9C8-E2BFA444C8A8}"/>
                </a:ext>
              </a:extLst>
            </p:cNvPr>
            <p:cNvSpPr/>
            <p:nvPr/>
          </p:nvSpPr>
          <p:spPr>
            <a:xfrm>
              <a:off x="6567353" y="3579935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….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8691249C-D96C-CAA3-40A9-EA8BCCF80FAC}"/>
              </a:ext>
            </a:extLst>
          </p:cNvPr>
          <p:cNvSpPr/>
          <p:nvPr/>
        </p:nvSpPr>
        <p:spPr>
          <a:xfrm>
            <a:off x="3381953" y="4070446"/>
            <a:ext cx="90677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37F389FA-01B1-89BE-FF30-DB14C23900B7}"/>
              </a:ext>
            </a:extLst>
          </p:cNvPr>
          <p:cNvGrpSpPr/>
          <p:nvPr/>
        </p:nvGrpSpPr>
        <p:grpSpPr>
          <a:xfrm>
            <a:off x="168964" y="3073178"/>
            <a:ext cx="3365213" cy="617350"/>
            <a:chOff x="1824141" y="1648793"/>
            <a:chExt cx="3365213" cy="617350"/>
          </a:xfrm>
        </p:grpSpPr>
        <p:sp>
          <p:nvSpPr>
            <p:cNvPr id="69" name="Google Shape;229;g370fc456c4b_0_4">
              <a:extLst>
                <a:ext uri="{FF2B5EF4-FFF2-40B4-BE49-F238E27FC236}">
                  <a16:creationId xmlns:a16="http://schemas.microsoft.com/office/drawing/2014/main" id="{15EE00CB-4FC5-EC6B-087A-651FDCA3067C}"/>
                </a:ext>
              </a:extLst>
            </p:cNvPr>
            <p:cNvSpPr/>
            <p:nvPr/>
          </p:nvSpPr>
          <p:spPr>
            <a:xfrm>
              <a:off x="1824141" y="1648793"/>
              <a:ext cx="1848415" cy="61735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0" name="Google Shape;230;g370fc456c4b_0_4">
              <a:extLst>
                <a:ext uri="{FF2B5EF4-FFF2-40B4-BE49-F238E27FC236}">
                  <a16:creationId xmlns:a16="http://schemas.microsoft.com/office/drawing/2014/main" id="{EA3B3242-9DB1-590F-4C45-2FF24AF8EF0A}"/>
                </a:ext>
              </a:extLst>
            </p:cNvPr>
            <p:cNvCxnSpPr>
              <a:cxnSpLocks/>
              <a:endCxn id="69" idx="3"/>
            </p:cNvCxnSpPr>
            <p:nvPr/>
          </p:nvCxnSpPr>
          <p:spPr>
            <a:xfrm flipH="1">
              <a:off x="3672556" y="1957468"/>
              <a:ext cx="40818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1" name="Rectangle: Rounded Corners 70">
              <a:extLst>
                <a:ext uri="{FF2B5EF4-FFF2-40B4-BE49-F238E27FC236}">
                  <a16:creationId xmlns:a16="http://schemas.microsoft.com/office/drawing/2014/main" id="{5D38E8EF-8D83-E35C-F48F-2D26E40F5467}"/>
                </a:ext>
              </a:extLst>
            </p:cNvPr>
            <p:cNvSpPr/>
            <p:nvPr/>
          </p:nvSpPr>
          <p:spPr>
            <a:xfrm>
              <a:off x="4080743" y="1794129"/>
              <a:ext cx="110861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EA8306D6-6651-79E9-B899-8A9A8F4D7D9E}"/>
              </a:ext>
            </a:extLst>
          </p:cNvPr>
          <p:cNvGrpSpPr/>
          <p:nvPr/>
        </p:nvGrpSpPr>
        <p:grpSpPr>
          <a:xfrm>
            <a:off x="8334218" y="3690528"/>
            <a:ext cx="889782" cy="1120009"/>
            <a:chOff x="1824142" y="819243"/>
            <a:chExt cx="889782" cy="1120009"/>
          </a:xfrm>
        </p:grpSpPr>
        <p:sp>
          <p:nvSpPr>
            <p:cNvPr id="77" name="Google Shape;229;g370fc456c4b_0_4">
              <a:extLst>
                <a:ext uri="{FF2B5EF4-FFF2-40B4-BE49-F238E27FC236}">
                  <a16:creationId xmlns:a16="http://schemas.microsoft.com/office/drawing/2014/main" id="{113486AB-82D2-A752-ACE8-8E16753B8807}"/>
                </a:ext>
              </a:extLst>
            </p:cNvPr>
            <p:cNvSpPr/>
            <p:nvPr/>
          </p:nvSpPr>
          <p:spPr>
            <a:xfrm>
              <a:off x="1824142" y="1685187"/>
              <a:ext cx="889782" cy="25406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8" name="Google Shape;230;g370fc456c4b_0_4">
              <a:extLst>
                <a:ext uri="{FF2B5EF4-FFF2-40B4-BE49-F238E27FC236}">
                  <a16:creationId xmlns:a16="http://schemas.microsoft.com/office/drawing/2014/main" id="{CD0E38CC-B057-6719-F597-BC2276F511B5}"/>
                </a:ext>
              </a:extLst>
            </p:cNvPr>
            <p:cNvCxnSpPr>
              <a:cxnSpLocks/>
              <a:stCxn id="79" idx="2"/>
              <a:endCxn id="77" idx="0"/>
            </p:cNvCxnSpPr>
            <p:nvPr/>
          </p:nvCxnSpPr>
          <p:spPr>
            <a:xfrm>
              <a:off x="2268993" y="1106715"/>
              <a:ext cx="40" cy="57847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9" name="Rectangle: Rounded Corners 78">
              <a:extLst>
                <a:ext uri="{FF2B5EF4-FFF2-40B4-BE49-F238E27FC236}">
                  <a16:creationId xmlns:a16="http://schemas.microsoft.com/office/drawing/2014/main" id="{411AF045-F06B-CC4D-742C-BC2A56622086}"/>
                </a:ext>
              </a:extLst>
            </p:cNvPr>
            <p:cNvSpPr/>
            <p:nvPr/>
          </p:nvSpPr>
          <p:spPr>
            <a:xfrm>
              <a:off x="1912761" y="819243"/>
              <a:ext cx="712463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8C5113EF-4995-16A7-39E6-6BADFA4222B7}"/>
              </a:ext>
            </a:extLst>
          </p:cNvPr>
          <p:cNvGrpSpPr/>
          <p:nvPr/>
        </p:nvGrpSpPr>
        <p:grpSpPr>
          <a:xfrm>
            <a:off x="9253441" y="3690528"/>
            <a:ext cx="2486704" cy="2902777"/>
            <a:chOff x="1748606" y="819243"/>
            <a:chExt cx="2486704" cy="2902777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C40EBAE5-6DE4-72D5-C424-55C8828FCC9E}"/>
                </a:ext>
              </a:extLst>
            </p:cNvPr>
            <p:cNvSpPr/>
            <p:nvPr/>
          </p:nvSpPr>
          <p:spPr>
            <a:xfrm>
              <a:off x="1824141" y="1685187"/>
              <a:ext cx="2411169" cy="203683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1425D065-EC1F-2D07-DBAF-6F431C60D8CE}"/>
                </a:ext>
              </a:extLst>
            </p:cNvPr>
            <p:cNvCxnSpPr>
              <a:cxnSpLocks/>
              <a:stCxn id="90" idx="2"/>
              <a:endCxn id="88" idx="0"/>
            </p:cNvCxnSpPr>
            <p:nvPr/>
          </p:nvCxnSpPr>
          <p:spPr>
            <a:xfrm>
              <a:off x="2536012" y="1106715"/>
              <a:ext cx="493714" cy="57847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EAB897A8-24EF-3B2F-407E-5943B140F87B}"/>
                </a:ext>
              </a:extLst>
            </p:cNvPr>
            <p:cNvSpPr/>
            <p:nvPr/>
          </p:nvSpPr>
          <p:spPr>
            <a:xfrm>
              <a:off x="1748606" y="819243"/>
              <a:ext cx="1574812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olePermission</a:t>
              </a:r>
              <a:endParaRPr lang="en-US" dirty="0"/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7878EEA4-C9AE-38AC-5BEF-12DABDE9EE8A}"/>
              </a:ext>
            </a:extLst>
          </p:cNvPr>
          <p:cNvGrpSpPr/>
          <p:nvPr/>
        </p:nvGrpSpPr>
        <p:grpSpPr>
          <a:xfrm>
            <a:off x="8422837" y="1549364"/>
            <a:ext cx="2812445" cy="1018529"/>
            <a:chOff x="-98521" y="954130"/>
            <a:chExt cx="2812445" cy="1018529"/>
          </a:xfrm>
        </p:grpSpPr>
        <p:sp>
          <p:nvSpPr>
            <p:cNvPr id="95" name="Google Shape;229;g370fc456c4b_0_4">
              <a:extLst>
                <a:ext uri="{FF2B5EF4-FFF2-40B4-BE49-F238E27FC236}">
                  <a16:creationId xmlns:a16="http://schemas.microsoft.com/office/drawing/2014/main" id="{A89C3473-B895-D99A-5C55-36F883F2FB5B}"/>
                </a:ext>
              </a:extLst>
            </p:cNvPr>
            <p:cNvSpPr/>
            <p:nvPr/>
          </p:nvSpPr>
          <p:spPr>
            <a:xfrm>
              <a:off x="-98521" y="1685187"/>
              <a:ext cx="2812445" cy="28747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6" name="Google Shape;230;g370fc456c4b_0_4">
              <a:extLst>
                <a:ext uri="{FF2B5EF4-FFF2-40B4-BE49-F238E27FC236}">
                  <a16:creationId xmlns:a16="http://schemas.microsoft.com/office/drawing/2014/main" id="{CE1F2776-8BAE-4FF8-CFA6-2A42AB6399F8}"/>
                </a:ext>
              </a:extLst>
            </p:cNvPr>
            <p:cNvCxnSpPr>
              <a:cxnSpLocks/>
              <a:endCxn id="95" idx="0"/>
            </p:cNvCxnSpPr>
            <p:nvPr/>
          </p:nvCxnSpPr>
          <p:spPr>
            <a:xfrm>
              <a:off x="1307702" y="1257420"/>
              <a:ext cx="0" cy="42776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7" name="Rectangle: Rounded Corners 96">
              <a:extLst>
                <a:ext uri="{FF2B5EF4-FFF2-40B4-BE49-F238E27FC236}">
                  <a16:creationId xmlns:a16="http://schemas.microsoft.com/office/drawing/2014/main" id="{FC54E316-B4E4-07F5-1038-47192B02A82D}"/>
                </a:ext>
              </a:extLst>
            </p:cNvPr>
            <p:cNvSpPr/>
            <p:nvPr/>
          </p:nvSpPr>
          <p:spPr>
            <a:xfrm>
              <a:off x="788303" y="954130"/>
              <a:ext cx="103879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areLink</a:t>
              </a:r>
              <a:endParaRPr lang="en-US" dirty="0"/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8E3C04A4-A5C5-E918-FC00-217461D536D0}"/>
              </a:ext>
            </a:extLst>
          </p:cNvPr>
          <p:cNvGrpSpPr/>
          <p:nvPr/>
        </p:nvGrpSpPr>
        <p:grpSpPr>
          <a:xfrm>
            <a:off x="8854077" y="2680003"/>
            <a:ext cx="1344563" cy="745830"/>
            <a:chOff x="6359592" y="3844630"/>
            <a:chExt cx="1344563" cy="745830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B2189075-78A8-C01B-CC2D-12D83FE39675}"/>
                </a:ext>
              </a:extLst>
            </p:cNvPr>
            <p:cNvSpPr/>
            <p:nvPr/>
          </p:nvSpPr>
          <p:spPr>
            <a:xfrm>
              <a:off x="6501755" y="4347556"/>
              <a:ext cx="1060239" cy="24290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DEDE1208-4D73-2AD7-1998-6EE559D60BAA}"/>
                </a:ext>
              </a:extLst>
            </p:cNvPr>
            <p:cNvCxnSpPr>
              <a:cxnSpLocks/>
              <a:endCxn id="103" idx="0"/>
            </p:cNvCxnSpPr>
            <p:nvPr/>
          </p:nvCxnSpPr>
          <p:spPr>
            <a:xfrm>
              <a:off x="7031875" y="4142161"/>
              <a:ext cx="0" cy="20539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F7BA6588-5EE1-E8F0-27EB-8679C25DCC8A}"/>
                </a:ext>
              </a:extLst>
            </p:cNvPr>
            <p:cNvSpPr/>
            <p:nvPr/>
          </p:nvSpPr>
          <p:spPr>
            <a:xfrm>
              <a:off x="6359592" y="3844630"/>
              <a:ext cx="1344563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areLink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0DA3C891-555A-110F-637B-ABE36CDEA4D9}"/>
              </a:ext>
            </a:extLst>
          </p:cNvPr>
          <p:cNvSpPr/>
          <p:nvPr/>
        </p:nvSpPr>
        <p:spPr>
          <a:xfrm>
            <a:off x="3381953" y="3618126"/>
            <a:ext cx="1209299" cy="34382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81DE76F5-E96E-276D-DED7-88ACAB4E072D}"/>
              </a:ext>
            </a:extLst>
          </p:cNvPr>
          <p:cNvGrpSpPr/>
          <p:nvPr/>
        </p:nvGrpSpPr>
        <p:grpSpPr>
          <a:xfrm>
            <a:off x="3315692" y="4685968"/>
            <a:ext cx="2973785" cy="1190671"/>
            <a:chOff x="4606061" y="4366888"/>
            <a:chExt cx="2973785" cy="1190671"/>
          </a:xfrm>
        </p:grpSpPr>
        <p:sp>
          <p:nvSpPr>
            <p:cNvPr id="117" name="Google Shape;229;g370fc456c4b_0_4">
              <a:extLst>
                <a:ext uri="{FF2B5EF4-FFF2-40B4-BE49-F238E27FC236}">
                  <a16:creationId xmlns:a16="http://schemas.microsoft.com/office/drawing/2014/main" id="{CFE13B88-3AC4-D181-7E9B-B3FF5E589DC0}"/>
                </a:ext>
              </a:extLst>
            </p:cNvPr>
            <p:cNvSpPr/>
            <p:nvPr/>
          </p:nvSpPr>
          <p:spPr>
            <a:xfrm>
              <a:off x="6510517" y="4366888"/>
              <a:ext cx="1069329" cy="16167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8" name="Google Shape;230;g370fc456c4b_0_4">
              <a:extLst>
                <a:ext uri="{FF2B5EF4-FFF2-40B4-BE49-F238E27FC236}">
                  <a16:creationId xmlns:a16="http://schemas.microsoft.com/office/drawing/2014/main" id="{F88B73DB-948B-E96A-B180-5BBF1801ED02}"/>
                </a:ext>
              </a:extLst>
            </p:cNvPr>
            <p:cNvCxnSpPr>
              <a:cxnSpLocks/>
              <a:stCxn id="119" idx="3"/>
              <a:endCxn id="117" idx="2"/>
            </p:cNvCxnSpPr>
            <p:nvPr/>
          </p:nvCxnSpPr>
          <p:spPr>
            <a:xfrm flipV="1">
              <a:off x="5579097" y="4528565"/>
              <a:ext cx="1466085" cy="88525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9" name="Rectangle: Rounded Corners 118">
              <a:extLst>
                <a:ext uri="{FF2B5EF4-FFF2-40B4-BE49-F238E27FC236}">
                  <a16:creationId xmlns:a16="http://schemas.microsoft.com/office/drawing/2014/main" id="{E813BE7F-C9BE-C9A6-0C8E-1D1B5BF96DCF}"/>
                </a:ext>
              </a:extLst>
            </p:cNvPr>
            <p:cNvSpPr/>
            <p:nvPr/>
          </p:nvSpPr>
          <p:spPr>
            <a:xfrm>
              <a:off x="4606061" y="5270087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04542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835D52-83AB-BB2D-C7B1-EB687F219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6D764365-2462-34B9-C13E-976B3C4FEA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1742"/>
            <a:ext cx="12192000" cy="576625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5AD73C5-F2AE-E978-79AE-92AD69BA22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MEMBER BOARD IN TRELLO SYSTEM</a:t>
            </a:r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FD0A15F-05E0-A463-9D80-A1F72313C77B}"/>
              </a:ext>
            </a:extLst>
          </p:cNvPr>
          <p:cNvGrpSpPr/>
          <p:nvPr/>
        </p:nvGrpSpPr>
        <p:grpSpPr>
          <a:xfrm>
            <a:off x="1718659" y="3414815"/>
            <a:ext cx="4113039" cy="1037100"/>
            <a:chOff x="2261692" y="1615002"/>
            <a:chExt cx="4113039" cy="1037100"/>
          </a:xfrm>
        </p:grpSpPr>
        <p:sp>
          <p:nvSpPr>
            <p:cNvPr id="13" name="Google Shape;229;g370fc456c4b_0_4">
              <a:extLst>
                <a:ext uri="{FF2B5EF4-FFF2-40B4-BE49-F238E27FC236}">
                  <a16:creationId xmlns:a16="http://schemas.microsoft.com/office/drawing/2014/main" id="{87E113ED-1EAB-49EB-27F1-171F63BE98AA}"/>
                </a:ext>
              </a:extLst>
            </p:cNvPr>
            <p:cNvSpPr/>
            <p:nvPr/>
          </p:nvSpPr>
          <p:spPr>
            <a:xfrm>
              <a:off x="3565236" y="1615002"/>
              <a:ext cx="2809495" cy="10371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" name="Google Shape;230;g370fc456c4b_0_4">
              <a:extLst>
                <a:ext uri="{FF2B5EF4-FFF2-40B4-BE49-F238E27FC236}">
                  <a16:creationId xmlns:a16="http://schemas.microsoft.com/office/drawing/2014/main" id="{1BEE41BB-B19F-9270-A339-A9AD197771D3}"/>
                </a:ext>
              </a:extLst>
            </p:cNvPr>
            <p:cNvCxnSpPr>
              <a:cxnSpLocks/>
            </p:cNvCxnSpPr>
            <p:nvPr/>
          </p:nvCxnSpPr>
          <p:spPr>
            <a:xfrm>
              <a:off x="3168467" y="1758739"/>
              <a:ext cx="39676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835FFF1E-972B-C547-F6D4-5833BA1A21B1}"/>
                </a:ext>
              </a:extLst>
            </p:cNvPr>
            <p:cNvSpPr/>
            <p:nvPr/>
          </p:nvSpPr>
          <p:spPr>
            <a:xfrm>
              <a:off x="2261692" y="1615003"/>
              <a:ext cx="90677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EA2D92E-A3CD-1FD1-93E1-EC6BBE1C6BDA}"/>
              </a:ext>
            </a:extLst>
          </p:cNvPr>
          <p:cNvSpPr/>
          <p:nvPr/>
        </p:nvSpPr>
        <p:spPr>
          <a:xfrm>
            <a:off x="1718658" y="2953110"/>
            <a:ext cx="90677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D2E95E3-B569-A9B7-A133-4C0E555F4ADB}"/>
              </a:ext>
            </a:extLst>
          </p:cNvPr>
          <p:cNvGrpSpPr/>
          <p:nvPr/>
        </p:nvGrpSpPr>
        <p:grpSpPr>
          <a:xfrm>
            <a:off x="1802218" y="3933365"/>
            <a:ext cx="1701442" cy="461259"/>
            <a:chOff x="5236667" y="4237326"/>
            <a:chExt cx="1701442" cy="461259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1B821008-97AD-7845-019B-5BEA20216704}"/>
                </a:ext>
              </a:extLst>
            </p:cNvPr>
            <p:cNvSpPr/>
            <p:nvPr/>
          </p:nvSpPr>
          <p:spPr>
            <a:xfrm>
              <a:off x="6510518" y="4237326"/>
              <a:ext cx="427591" cy="46125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03F870E4-EF55-9E68-39CF-4FE075A7DE53}"/>
                </a:ext>
              </a:extLst>
            </p:cNvPr>
            <p:cNvCxnSpPr>
              <a:cxnSpLocks/>
              <a:endCxn id="21" idx="1"/>
            </p:cNvCxnSpPr>
            <p:nvPr/>
          </p:nvCxnSpPr>
          <p:spPr>
            <a:xfrm>
              <a:off x="6059883" y="4467956"/>
              <a:ext cx="450635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8457EB30-FFEF-5BAB-7D73-AF0A2F22EB39}"/>
                </a:ext>
              </a:extLst>
            </p:cNvPr>
            <p:cNvSpPr/>
            <p:nvPr/>
          </p:nvSpPr>
          <p:spPr>
            <a:xfrm>
              <a:off x="5236667" y="4324219"/>
              <a:ext cx="82321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vata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8DC6DBF-C0FB-4C02-99F6-90CFA1DBD08F}"/>
              </a:ext>
            </a:extLst>
          </p:cNvPr>
          <p:cNvGrpSpPr/>
          <p:nvPr/>
        </p:nvGrpSpPr>
        <p:grpSpPr>
          <a:xfrm>
            <a:off x="1589567" y="2422350"/>
            <a:ext cx="3753711" cy="471925"/>
            <a:chOff x="2132600" y="1615002"/>
            <a:chExt cx="3753711" cy="471925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4C0399A7-E038-749E-3351-35F1B9010ABF}"/>
                </a:ext>
              </a:extLst>
            </p:cNvPr>
            <p:cNvSpPr/>
            <p:nvPr/>
          </p:nvSpPr>
          <p:spPr>
            <a:xfrm>
              <a:off x="3565237" y="1615002"/>
              <a:ext cx="2321074" cy="47192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D8E94C9B-DC1A-8673-9F97-F7A1067BFCD0}"/>
                </a:ext>
              </a:extLst>
            </p:cNvPr>
            <p:cNvCxnSpPr>
              <a:cxnSpLocks/>
            </p:cNvCxnSpPr>
            <p:nvPr/>
          </p:nvCxnSpPr>
          <p:spPr>
            <a:xfrm>
              <a:off x="3168467" y="1758739"/>
              <a:ext cx="39676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FE085F68-D6F8-31E7-8D49-F8E1FB40D1F1}"/>
                </a:ext>
              </a:extLst>
            </p:cNvPr>
            <p:cNvSpPr/>
            <p:nvPr/>
          </p:nvSpPr>
          <p:spPr>
            <a:xfrm>
              <a:off x="2132600" y="1615003"/>
              <a:ext cx="103586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areLink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1FAA05E-0C59-04E6-72B9-A6DB99DA27FB}"/>
              </a:ext>
            </a:extLst>
          </p:cNvPr>
          <p:cNvGrpSpPr/>
          <p:nvPr/>
        </p:nvGrpSpPr>
        <p:grpSpPr>
          <a:xfrm>
            <a:off x="4031312" y="4500530"/>
            <a:ext cx="4428876" cy="1621973"/>
            <a:chOff x="2068359" y="1615002"/>
            <a:chExt cx="4428876" cy="1621973"/>
          </a:xfrm>
        </p:grpSpPr>
        <p:sp>
          <p:nvSpPr>
            <p:cNvPr id="43" name="Google Shape;229;g370fc456c4b_0_4">
              <a:extLst>
                <a:ext uri="{FF2B5EF4-FFF2-40B4-BE49-F238E27FC236}">
                  <a16:creationId xmlns:a16="http://schemas.microsoft.com/office/drawing/2014/main" id="{E6A80CCC-400D-DB67-0B02-705E9F987BE0}"/>
                </a:ext>
              </a:extLst>
            </p:cNvPr>
            <p:cNvSpPr/>
            <p:nvPr/>
          </p:nvSpPr>
          <p:spPr>
            <a:xfrm>
              <a:off x="3565237" y="1615002"/>
              <a:ext cx="2931998" cy="162197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4" name="Google Shape;230;g370fc456c4b_0_4">
              <a:extLst>
                <a:ext uri="{FF2B5EF4-FFF2-40B4-BE49-F238E27FC236}">
                  <a16:creationId xmlns:a16="http://schemas.microsoft.com/office/drawing/2014/main" id="{94424643-6995-B73D-CCCD-399EDFA8371B}"/>
                </a:ext>
              </a:extLst>
            </p:cNvPr>
            <p:cNvCxnSpPr>
              <a:cxnSpLocks/>
            </p:cNvCxnSpPr>
            <p:nvPr/>
          </p:nvCxnSpPr>
          <p:spPr>
            <a:xfrm>
              <a:off x="3181940" y="2415114"/>
              <a:ext cx="39676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68185598-C82A-9273-0DD9-4C82706024DB}"/>
                </a:ext>
              </a:extLst>
            </p:cNvPr>
            <p:cNvSpPr/>
            <p:nvPr/>
          </p:nvSpPr>
          <p:spPr>
            <a:xfrm>
              <a:off x="2068359" y="2271378"/>
              <a:ext cx="1113582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ermission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4C3A9652-94C1-1D54-98F8-C84653FE7F22}"/>
              </a:ext>
            </a:extLst>
          </p:cNvPr>
          <p:cNvGrpSpPr/>
          <p:nvPr/>
        </p:nvGrpSpPr>
        <p:grpSpPr>
          <a:xfrm>
            <a:off x="3836643" y="4627661"/>
            <a:ext cx="2468741" cy="1380080"/>
            <a:chOff x="4678752" y="3318506"/>
            <a:chExt cx="2468741" cy="1380080"/>
          </a:xfrm>
        </p:grpSpPr>
        <p:sp>
          <p:nvSpPr>
            <p:cNvPr id="47" name="Google Shape;229;g370fc456c4b_0_4">
              <a:extLst>
                <a:ext uri="{FF2B5EF4-FFF2-40B4-BE49-F238E27FC236}">
                  <a16:creationId xmlns:a16="http://schemas.microsoft.com/office/drawing/2014/main" id="{8CEC7D9B-ABF3-641C-7FAD-81D36DD7E511}"/>
                </a:ext>
              </a:extLst>
            </p:cNvPr>
            <p:cNvSpPr/>
            <p:nvPr/>
          </p:nvSpPr>
          <p:spPr>
            <a:xfrm>
              <a:off x="6510518" y="3318506"/>
              <a:ext cx="636975" cy="138008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8" name="Google Shape;230;g370fc456c4b_0_4">
              <a:extLst>
                <a:ext uri="{FF2B5EF4-FFF2-40B4-BE49-F238E27FC236}">
                  <a16:creationId xmlns:a16="http://schemas.microsoft.com/office/drawing/2014/main" id="{A108B33E-79FA-74EB-0424-49EC66DECCC5}"/>
                </a:ext>
              </a:extLst>
            </p:cNvPr>
            <p:cNvCxnSpPr>
              <a:cxnSpLocks/>
              <a:endCxn id="47" idx="1"/>
            </p:cNvCxnSpPr>
            <p:nvPr/>
          </p:nvCxnSpPr>
          <p:spPr>
            <a:xfrm flipV="1">
              <a:off x="6059883" y="4008546"/>
              <a:ext cx="450635" cy="4594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4C4EE7A0-19C5-ADF6-A46E-C67813952788}"/>
                </a:ext>
              </a:extLst>
            </p:cNvPr>
            <p:cNvSpPr/>
            <p:nvPr/>
          </p:nvSpPr>
          <p:spPr>
            <a:xfrm>
              <a:off x="4678752" y="4324219"/>
              <a:ext cx="138113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ermission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1B424DF0-CAC3-41A9-8AFC-92695A3DC42A}"/>
              </a:ext>
            </a:extLst>
          </p:cNvPr>
          <p:cNvSpPr/>
          <p:nvPr/>
        </p:nvSpPr>
        <p:spPr>
          <a:xfrm>
            <a:off x="1416134" y="1890123"/>
            <a:ext cx="1209299" cy="34382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5A9A421-1F4D-5D93-DD4B-43B6AE49663C}"/>
              </a:ext>
            </a:extLst>
          </p:cNvPr>
          <p:cNvGrpSpPr/>
          <p:nvPr/>
        </p:nvGrpSpPr>
        <p:grpSpPr>
          <a:xfrm>
            <a:off x="1665183" y="4243765"/>
            <a:ext cx="3023775" cy="1190670"/>
            <a:chOff x="4606061" y="4366889"/>
            <a:chExt cx="3023775" cy="1190670"/>
          </a:xfrm>
        </p:grpSpPr>
        <p:sp>
          <p:nvSpPr>
            <p:cNvPr id="55" name="Google Shape;229;g370fc456c4b_0_4">
              <a:extLst>
                <a:ext uri="{FF2B5EF4-FFF2-40B4-BE49-F238E27FC236}">
                  <a16:creationId xmlns:a16="http://schemas.microsoft.com/office/drawing/2014/main" id="{658521AD-D89A-EF30-1E71-28A805AC4272}"/>
                </a:ext>
              </a:extLst>
            </p:cNvPr>
            <p:cNvSpPr/>
            <p:nvPr/>
          </p:nvSpPr>
          <p:spPr>
            <a:xfrm>
              <a:off x="6510517" y="4366889"/>
              <a:ext cx="1119319" cy="15086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6" name="Google Shape;230;g370fc456c4b_0_4">
              <a:extLst>
                <a:ext uri="{FF2B5EF4-FFF2-40B4-BE49-F238E27FC236}">
                  <a16:creationId xmlns:a16="http://schemas.microsoft.com/office/drawing/2014/main" id="{A817B8C0-B278-028F-93BC-B7550F32659C}"/>
                </a:ext>
              </a:extLst>
            </p:cNvPr>
            <p:cNvCxnSpPr>
              <a:cxnSpLocks/>
              <a:stCxn id="57" idx="3"/>
              <a:endCxn id="55" idx="2"/>
            </p:cNvCxnSpPr>
            <p:nvPr/>
          </p:nvCxnSpPr>
          <p:spPr>
            <a:xfrm flipV="1">
              <a:off x="5579097" y="4517749"/>
              <a:ext cx="1491080" cy="89607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892D0F50-B23A-CA06-C186-59EA7BBB7EAF}"/>
                </a:ext>
              </a:extLst>
            </p:cNvPr>
            <p:cNvSpPr/>
            <p:nvPr/>
          </p:nvSpPr>
          <p:spPr>
            <a:xfrm>
              <a:off x="4606061" y="5270087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7043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4C9DF2-122C-DAB3-02C0-22A594CD23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F0BE016E-CE8C-BE1D-37D7-75EE1257451A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1CD774F-DAAF-9989-AF61-D4E7057098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MEMBER CARD IN TRELLO SYSTEM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B85AE4-8385-9B51-1B4F-3C2B20F1052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5717"/>
          <a:stretch>
            <a:fillRect/>
          </a:stretch>
        </p:blipFill>
        <p:spPr>
          <a:xfrm>
            <a:off x="0" y="1098000"/>
            <a:ext cx="12192000" cy="5760001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009B0C9B-8D56-0A9B-0917-12D60C61C305}"/>
              </a:ext>
            </a:extLst>
          </p:cNvPr>
          <p:cNvGrpSpPr/>
          <p:nvPr/>
        </p:nvGrpSpPr>
        <p:grpSpPr>
          <a:xfrm>
            <a:off x="2302281" y="4492499"/>
            <a:ext cx="3793719" cy="1411237"/>
            <a:chOff x="3565236" y="1615002"/>
            <a:chExt cx="3793719" cy="1411237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6AE1C315-4EEA-3833-D62E-75DD0E914557}"/>
                </a:ext>
              </a:extLst>
            </p:cNvPr>
            <p:cNvSpPr/>
            <p:nvPr/>
          </p:nvSpPr>
          <p:spPr>
            <a:xfrm>
              <a:off x="3565236" y="1615002"/>
              <a:ext cx="2248454" cy="69618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08A02ABC-7829-2954-4F3D-FB47469DFD5E}"/>
                </a:ext>
              </a:extLst>
            </p:cNvPr>
            <p:cNvCxnSpPr>
              <a:cxnSpLocks/>
              <a:endCxn id="7" idx="3"/>
            </p:cNvCxnSpPr>
            <p:nvPr/>
          </p:nvCxnSpPr>
          <p:spPr>
            <a:xfrm flipH="1" flipV="1">
              <a:off x="5813690" y="1963097"/>
              <a:ext cx="638490" cy="77567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20F25980-9908-9A67-57F0-CEAD87B776EA}"/>
                </a:ext>
              </a:extLst>
            </p:cNvPr>
            <p:cNvSpPr/>
            <p:nvPr/>
          </p:nvSpPr>
          <p:spPr>
            <a:xfrm>
              <a:off x="6452180" y="2738767"/>
              <a:ext cx="90677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7B23F399-7BBB-35E9-8AC5-2CEBC06DDD6F}"/>
              </a:ext>
            </a:extLst>
          </p:cNvPr>
          <p:cNvGrpSpPr/>
          <p:nvPr/>
        </p:nvGrpSpPr>
        <p:grpSpPr>
          <a:xfrm>
            <a:off x="2302281" y="5470891"/>
            <a:ext cx="2886944" cy="696189"/>
            <a:chOff x="3565236" y="1615002"/>
            <a:chExt cx="2886944" cy="696189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7B4025F5-9BDE-4A49-C025-D522E8796A20}"/>
                </a:ext>
              </a:extLst>
            </p:cNvPr>
            <p:cNvSpPr/>
            <p:nvPr/>
          </p:nvSpPr>
          <p:spPr>
            <a:xfrm>
              <a:off x="3565236" y="1615002"/>
              <a:ext cx="2248454" cy="69618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EB117AC4-F614-605F-CD04-B329C5039972}"/>
                </a:ext>
              </a:extLst>
            </p:cNvPr>
            <p:cNvCxnSpPr>
              <a:cxnSpLocks/>
              <a:stCxn id="9" idx="1"/>
              <a:endCxn id="11" idx="3"/>
            </p:cNvCxnSpPr>
            <p:nvPr/>
          </p:nvCxnSpPr>
          <p:spPr>
            <a:xfrm flipH="1">
              <a:off x="5813690" y="1904111"/>
              <a:ext cx="638490" cy="5898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1B41B94-B49A-6505-7F74-62AA64EEED75}"/>
              </a:ext>
            </a:extLst>
          </p:cNvPr>
          <p:cNvGrpSpPr/>
          <p:nvPr/>
        </p:nvGrpSpPr>
        <p:grpSpPr>
          <a:xfrm>
            <a:off x="2302281" y="5903736"/>
            <a:ext cx="2886944" cy="833019"/>
            <a:chOff x="3565236" y="1478172"/>
            <a:chExt cx="2886944" cy="833019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41952BB9-BE67-6B42-9A58-9F8F0E4EFA90}"/>
                </a:ext>
              </a:extLst>
            </p:cNvPr>
            <p:cNvSpPr/>
            <p:nvPr/>
          </p:nvSpPr>
          <p:spPr>
            <a:xfrm>
              <a:off x="3565236" y="2023719"/>
              <a:ext cx="2248454" cy="28747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7AE00F91-4F4A-F6AE-9926-8E26A64E6C3F}"/>
                </a:ext>
              </a:extLst>
            </p:cNvPr>
            <p:cNvCxnSpPr>
              <a:cxnSpLocks/>
              <a:endCxn id="15" idx="3"/>
            </p:cNvCxnSpPr>
            <p:nvPr/>
          </p:nvCxnSpPr>
          <p:spPr>
            <a:xfrm flipH="1">
              <a:off x="5813690" y="1478172"/>
              <a:ext cx="638490" cy="68928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5594723-051D-7A51-1469-F0A960F7A676}"/>
              </a:ext>
            </a:extLst>
          </p:cNvPr>
          <p:cNvGrpSpPr/>
          <p:nvPr/>
        </p:nvGrpSpPr>
        <p:grpSpPr>
          <a:xfrm>
            <a:off x="431999" y="4371254"/>
            <a:ext cx="2561066" cy="1562815"/>
            <a:chOff x="2053061" y="1407327"/>
            <a:chExt cx="2561066" cy="1562815"/>
          </a:xfrm>
        </p:grpSpPr>
        <p:sp>
          <p:nvSpPr>
            <p:cNvPr id="26" name="Google Shape;229;g370fc456c4b_0_4">
              <a:extLst>
                <a:ext uri="{FF2B5EF4-FFF2-40B4-BE49-F238E27FC236}">
                  <a16:creationId xmlns:a16="http://schemas.microsoft.com/office/drawing/2014/main" id="{96013E2F-2BD7-E065-6278-25A80ED36604}"/>
                </a:ext>
              </a:extLst>
            </p:cNvPr>
            <p:cNvSpPr/>
            <p:nvPr/>
          </p:nvSpPr>
          <p:spPr>
            <a:xfrm>
              <a:off x="3923343" y="1407327"/>
              <a:ext cx="690784" cy="12124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7" name="Google Shape;230;g370fc456c4b_0_4">
              <a:extLst>
                <a:ext uri="{FF2B5EF4-FFF2-40B4-BE49-F238E27FC236}">
                  <a16:creationId xmlns:a16="http://schemas.microsoft.com/office/drawing/2014/main" id="{A9AAC2B2-B4A0-DC4F-40ED-DC668B193A8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33643" y="1464533"/>
              <a:ext cx="689700" cy="121813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799AA8F9-CDAC-AD25-B47C-451369D40FB1}"/>
                </a:ext>
              </a:extLst>
            </p:cNvPr>
            <p:cNvSpPr/>
            <p:nvPr/>
          </p:nvSpPr>
          <p:spPr>
            <a:xfrm>
              <a:off x="2053061" y="2682670"/>
              <a:ext cx="1180582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wnerType</a:t>
              </a:r>
            </a:p>
          </p:txBody>
        </p:sp>
      </p:grpSp>
      <p:sp>
        <p:nvSpPr>
          <p:cNvPr id="39" name="Google Shape;229;g370fc456c4b_0_4">
            <a:extLst>
              <a:ext uri="{FF2B5EF4-FFF2-40B4-BE49-F238E27FC236}">
                <a16:creationId xmlns:a16="http://schemas.microsoft.com/office/drawing/2014/main" id="{6A4A5885-B2DE-5ECF-41C1-138B9DF7335D}"/>
              </a:ext>
            </a:extLst>
          </p:cNvPr>
          <p:cNvSpPr/>
          <p:nvPr/>
        </p:nvSpPr>
        <p:spPr>
          <a:xfrm>
            <a:off x="2302281" y="5302092"/>
            <a:ext cx="747850" cy="149924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40" name="Google Shape;230;g370fc456c4b_0_4">
            <a:extLst>
              <a:ext uri="{FF2B5EF4-FFF2-40B4-BE49-F238E27FC236}">
                <a16:creationId xmlns:a16="http://schemas.microsoft.com/office/drawing/2014/main" id="{EFBED342-64CF-C771-6E5E-D59D2B30B898}"/>
              </a:ext>
            </a:extLst>
          </p:cNvPr>
          <p:cNvCxnSpPr>
            <a:cxnSpLocks/>
            <a:stCxn id="28" idx="3"/>
          </p:cNvCxnSpPr>
          <p:nvPr/>
        </p:nvCxnSpPr>
        <p:spPr>
          <a:xfrm flipV="1">
            <a:off x="1612581" y="5387978"/>
            <a:ext cx="689700" cy="402355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44" name="Google Shape;229;g370fc456c4b_0_4">
            <a:extLst>
              <a:ext uri="{FF2B5EF4-FFF2-40B4-BE49-F238E27FC236}">
                <a16:creationId xmlns:a16="http://schemas.microsoft.com/office/drawing/2014/main" id="{DFE99836-8A5E-A661-B21E-E6614374137B}"/>
              </a:ext>
            </a:extLst>
          </p:cNvPr>
          <p:cNvSpPr/>
          <p:nvPr/>
        </p:nvSpPr>
        <p:spPr>
          <a:xfrm>
            <a:off x="2302280" y="6263545"/>
            <a:ext cx="984443" cy="14798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45" name="Google Shape;230;g370fc456c4b_0_4">
            <a:extLst>
              <a:ext uri="{FF2B5EF4-FFF2-40B4-BE49-F238E27FC236}">
                <a16:creationId xmlns:a16="http://schemas.microsoft.com/office/drawing/2014/main" id="{6352EAE6-D56A-111D-776B-A2DFE73B1317}"/>
              </a:ext>
            </a:extLst>
          </p:cNvPr>
          <p:cNvCxnSpPr>
            <a:cxnSpLocks/>
            <a:endCxn id="44" idx="1"/>
          </p:cNvCxnSpPr>
          <p:nvPr/>
        </p:nvCxnSpPr>
        <p:spPr>
          <a:xfrm>
            <a:off x="1566629" y="5903736"/>
            <a:ext cx="735651" cy="433803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9529032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EBD297-B5CE-778A-D4EE-76923799F7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565767E-E78D-0CA2-9A23-9227E5F51552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26A7CE8-A439-6D78-DCC5-8EACFAF82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SETTINGS IN TRELLO SYSTEM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A6C44AC-B70C-9CB2-1398-5CE34CBFC0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07628"/>
            <a:ext cx="6153911" cy="578923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4FD5FBFF-2649-F6D7-513F-CDB1FF3830E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6986" t="-1" b="-1346"/>
          <a:stretch>
            <a:fillRect/>
          </a:stretch>
        </p:blipFill>
        <p:spPr>
          <a:xfrm>
            <a:off x="6153911" y="1107628"/>
            <a:ext cx="3218486" cy="5882246"/>
          </a:xfrm>
          <a:prstGeom prst="rect">
            <a:avLst/>
          </a:prstGeom>
        </p:spPr>
      </p:pic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412DF6D-9729-7394-3C73-F992F27B3991}"/>
              </a:ext>
            </a:extLst>
          </p:cNvPr>
          <p:cNvSpPr/>
          <p:nvPr/>
        </p:nvSpPr>
        <p:spPr>
          <a:xfrm>
            <a:off x="7253714" y="2961405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ttingKey</a:t>
            </a:r>
            <a:endParaRPr lang="en-US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73348C4-C04A-9279-2D57-E490920DC5C7}"/>
              </a:ext>
            </a:extLst>
          </p:cNvPr>
          <p:cNvGrpSpPr/>
          <p:nvPr/>
        </p:nvGrpSpPr>
        <p:grpSpPr>
          <a:xfrm>
            <a:off x="6816195" y="5137160"/>
            <a:ext cx="2156641" cy="738363"/>
            <a:chOff x="1824142" y="1141476"/>
            <a:chExt cx="2156641" cy="738363"/>
          </a:xfrm>
        </p:grpSpPr>
        <p:sp>
          <p:nvSpPr>
            <p:cNvPr id="35" name="Google Shape;229;g370fc456c4b_0_4">
              <a:extLst>
                <a:ext uri="{FF2B5EF4-FFF2-40B4-BE49-F238E27FC236}">
                  <a16:creationId xmlns:a16="http://schemas.microsoft.com/office/drawing/2014/main" id="{005689A7-2AF4-1C34-EB08-3B8BB74EE47C}"/>
                </a:ext>
              </a:extLst>
            </p:cNvPr>
            <p:cNvSpPr/>
            <p:nvPr/>
          </p:nvSpPr>
          <p:spPr>
            <a:xfrm>
              <a:off x="1824142" y="1648793"/>
              <a:ext cx="403090" cy="2310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6" name="Google Shape;230;g370fc456c4b_0_4">
              <a:extLst>
                <a:ext uri="{FF2B5EF4-FFF2-40B4-BE49-F238E27FC236}">
                  <a16:creationId xmlns:a16="http://schemas.microsoft.com/office/drawing/2014/main" id="{81A72925-9FAE-D482-AA8E-9EA40EF70E5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227232" y="1291011"/>
              <a:ext cx="473371" cy="47330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A6EEB45F-B551-A714-2C6D-7783DC7C9B15}"/>
                </a:ext>
              </a:extLst>
            </p:cNvPr>
            <p:cNvSpPr/>
            <p:nvPr/>
          </p:nvSpPr>
          <p:spPr>
            <a:xfrm>
              <a:off x="2724746" y="1141476"/>
              <a:ext cx="125603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Value</a:t>
              </a:r>
              <a:endParaRPr lang="en-US" dirty="0"/>
            </a:p>
          </p:txBody>
        </p:sp>
      </p:grpSp>
      <p:sp>
        <p:nvSpPr>
          <p:cNvPr id="42" name="Google Shape;229;g370fc456c4b_0_4">
            <a:extLst>
              <a:ext uri="{FF2B5EF4-FFF2-40B4-BE49-F238E27FC236}">
                <a16:creationId xmlns:a16="http://schemas.microsoft.com/office/drawing/2014/main" id="{FEFFC774-081B-9DAE-B71C-48C2E8E98C33}"/>
              </a:ext>
            </a:extLst>
          </p:cNvPr>
          <p:cNvSpPr/>
          <p:nvPr/>
        </p:nvSpPr>
        <p:spPr>
          <a:xfrm>
            <a:off x="0" y="1153355"/>
            <a:ext cx="6056005" cy="5732230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B527AC34-7E2A-F942-58FA-7EC0B89B153C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r="10065"/>
          <a:stretch>
            <a:fillRect/>
          </a:stretch>
        </p:blipFill>
        <p:spPr>
          <a:xfrm>
            <a:off x="9352531" y="1107628"/>
            <a:ext cx="2852260" cy="5903713"/>
          </a:xfrm>
          <a:prstGeom prst="rect">
            <a:avLst/>
          </a:prstGeom>
        </p:spPr>
      </p:pic>
      <p:grpSp>
        <p:nvGrpSpPr>
          <p:cNvPr id="51" name="Group 50">
            <a:extLst>
              <a:ext uri="{FF2B5EF4-FFF2-40B4-BE49-F238E27FC236}">
                <a16:creationId xmlns:a16="http://schemas.microsoft.com/office/drawing/2014/main" id="{69519184-0530-7E20-FD6C-BE0781B65D33}"/>
              </a:ext>
            </a:extLst>
          </p:cNvPr>
          <p:cNvGrpSpPr/>
          <p:nvPr/>
        </p:nvGrpSpPr>
        <p:grpSpPr>
          <a:xfrm>
            <a:off x="6601547" y="3970238"/>
            <a:ext cx="2323214" cy="287472"/>
            <a:chOff x="6582442" y="4325272"/>
            <a:chExt cx="2323214" cy="287472"/>
          </a:xfrm>
        </p:grpSpPr>
        <p:sp>
          <p:nvSpPr>
            <p:cNvPr id="52" name="Google Shape;229;g370fc456c4b_0_4">
              <a:extLst>
                <a:ext uri="{FF2B5EF4-FFF2-40B4-BE49-F238E27FC236}">
                  <a16:creationId xmlns:a16="http://schemas.microsoft.com/office/drawing/2014/main" id="{E243B561-E878-717F-125B-20F52332A6E4}"/>
                </a:ext>
              </a:extLst>
            </p:cNvPr>
            <p:cNvSpPr/>
            <p:nvPr/>
          </p:nvSpPr>
          <p:spPr>
            <a:xfrm>
              <a:off x="6582442" y="4347556"/>
              <a:ext cx="979552" cy="24290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3" name="Google Shape;230;g370fc456c4b_0_4">
              <a:extLst>
                <a:ext uri="{FF2B5EF4-FFF2-40B4-BE49-F238E27FC236}">
                  <a16:creationId xmlns:a16="http://schemas.microsoft.com/office/drawing/2014/main" id="{7AD7B278-5F54-0E0C-1FE9-A2983CBE304C}"/>
                </a:ext>
              </a:extLst>
            </p:cNvPr>
            <p:cNvCxnSpPr>
              <a:cxnSpLocks/>
              <a:endCxn id="52" idx="3"/>
            </p:cNvCxnSpPr>
            <p:nvPr/>
          </p:nvCxnSpPr>
          <p:spPr>
            <a:xfrm flipH="1">
              <a:off x="7561994" y="4469008"/>
              <a:ext cx="453842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4" name="Rectangle: Rounded Corners 53">
              <a:extLst>
                <a:ext uri="{FF2B5EF4-FFF2-40B4-BE49-F238E27FC236}">
                  <a16:creationId xmlns:a16="http://schemas.microsoft.com/office/drawing/2014/main" id="{238DDEFC-7C88-9CFD-08CA-6ED437F74A6E}"/>
                </a:ext>
              </a:extLst>
            </p:cNvPr>
            <p:cNvSpPr/>
            <p:nvPr/>
          </p:nvSpPr>
          <p:spPr>
            <a:xfrm>
              <a:off x="8026126" y="4325272"/>
              <a:ext cx="87953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ey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A5996BA4-0924-E453-715A-CF158E620679}"/>
              </a:ext>
            </a:extLst>
          </p:cNvPr>
          <p:cNvSpPr/>
          <p:nvPr/>
        </p:nvSpPr>
        <p:spPr>
          <a:xfrm>
            <a:off x="3730989" y="4170361"/>
            <a:ext cx="2234511" cy="36503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ttingKeySettingOption</a:t>
            </a:r>
            <a:endParaRPr lang="en-US" dirty="0"/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56436017-8F64-64D8-7464-290B787D480E}"/>
              </a:ext>
            </a:extLst>
          </p:cNvPr>
          <p:cNvSpPr/>
          <p:nvPr/>
        </p:nvSpPr>
        <p:spPr>
          <a:xfrm>
            <a:off x="7181523" y="843325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332E325B-3882-0930-303E-61FA671C7A6A}"/>
              </a:ext>
            </a:extLst>
          </p:cNvPr>
          <p:cNvSpPr/>
          <p:nvPr/>
        </p:nvSpPr>
        <p:spPr>
          <a:xfrm>
            <a:off x="2143845" y="822390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orkspace</a:t>
            </a:r>
            <a:endParaRPr lang="en-US" dirty="0"/>
          </a:p>
        </p:txBody>
      </p:sp>
      <p:sp>
        <p:nvSpPr>
          <p:cNvPr id="72" name="Google Shape;229;g370fc456c4b_0_4">
            <a:extLst>
              <a:ext uri="{FF2B5EF4-FFF2-40B4-BE49-F238E27FC236}">
                <a16:creationId xmlns:a16="http://schemas.microsoft.com/office/drawing/2014/main" id="{AD861A6F-4461-89FC-E06F-EBB331906C62}"/>
              </a:ext>
            </a:extLst>
          </p:cNvPr>
          <p:cNvSpPr/>
          <p:nvPr/>
        </p:nvSpPr>
        <p:spPr>
          <a:xfrm>
            <a:off x="6135997" y="1153355"/>
            <a:ext cx="3149258" cy="5704645"/>
          </a:xfrm>
          <a:prstGeom prst="rect">
            <a:avLst/>
          </a:prstGeom>
          <a:noFill/>
          <a:ln w="28575" cap="flat" cmpd="sng">
            <a:solidFill>
              <a:srgbClr val="00DE6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89610686-2697-AAA6-2008-A1B5BD5A4815}"/>
              </a:ext>
            </a:extLst>
          </p:cNvPr>
          <p:cNvGrpSpPr/>
          <p:nvPr/>
        </p:nvGrpSpPr>
        <p:grpSpPr>
          <a:xfrm>
            <a:off x="5410863" y="6058913"/>
            <a:ext cx="1824823" cy="287472"/>
            <a:chOff x="4992688" y="4303145"/>
            <a:chExt cx="1824823" cy="287472"/>
          </a:xfrm>
        </p:grpSpPr>
        <p:sp>
          <p:nvSpPr>
            <p:cNvPr id="61" name="Google Shape;229;g370fc456c4b_0_4">
              <a:extLst>
                <a:ext uri="{FF2B5EF4-FFF2-40B4-BE49-F238E27FC236}">
                  <a16:creationId xmlns:a16="http://schemas.microsoft.com/office/drawing/2014/main" id="{23B17F60-DB2B-964E-5132-E14E5B707672}"/>
                </a:ext>
              </a:extLst>
            </p:cNvPr>
            <p:cNvSpPr/>
            <p:nvPr/>
          </p:nvSpPr>
          <p:spPr>
            <a:xfrm>
              <a:off x="6437210" y="4303145"/>
              <a:ext cx="380301" cy="25406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2" name="Google Shape;230;g370fc456c4b_0_4">
              <a:extLst>
                <a:ext uri="{FF2B5EF4-FFF2-40B4-BE49-F238E27FC236}">
                  <a16:creationId xmlns:a16="http://schemas.microsoft.com/office/drawing/2014/main" id="{9418AEC8-4A29-77A2-418C-36F91EA69FC5}"/>
                </a:ext>
              </a:extLst>
            </p:cNvPr>
            <p:cNvCxnSpPr>
              <a:cxnSpLocks/>
              <a:endCxn id="61" idx="1"/>
            </p:cNvCxnSpPr>
            <p:nvPr/>
          </p:nvCxnSpPr>
          <p:spPr>
            <a:xfrm>
              <a:off x="6101962" y="4430178"/>
              <a:ext cx="335248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7D880AE5-692C-CFD4-A7FE-FAA670AC4292}"/>
                </a:ext>
              </a:extLst>
            </p:cNvPr>
            <p:cNvSpPr/>
            <p:nvPr/>
          </p:nvSpPr>
          <p:spPr>
            <a:xfrm>
              <a:off x="4992688" y="4303145"/>
              <a:ext cx="11092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91" name="Google Shape;229;g370fc456c4b_0_4">
            <a:extLst>
              <a:ext uri="{FF2B5EF4-FFF2-40B4-BE49-F238E27FC236}">
                <a16:creationId xmlns:a16="http://schemas.microsoft.com/office/drawing/2014/main" id="{5CB697B6-CACB-F8E1-2767-E648FEDAC8E8}"/>
              </a:ext>
            </a:extLst>
          </p:cNvPr>
          <p:cNvSpPr/>
          <p:nvPr/>
        </p:nvSpPr>
        <p:spPr>
          <a:xfrm>
            <a:off x="9341878" y="1126407"/>
            <a:ext cx="2811692" cy="5732230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F515F24F-A6F4-11C2-8B9B-63BE2489250D}"/>
              </a:ext>
            </a:extLst>
          </p:cNvPr>
          <p:cNvSpPr/>
          <p:nvPr/>
        </p:nvSpPr>
        <p:spPr>
          <a:xfrm>
            <a:off x="10193418" y="820156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ard</a:t>
            </a:r>
            <a:endParaRPr lang="en-US" dirty="0"/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1F20AE62-42C9-815D-8958-44EEF5066B7B}"/>
              </a:ext>
            </a:extLst>
          </p:cNvPr>
          <p:cNvGrpSpPr/>
          <p:nvPr/>
        </p:nvGrpSpPr>
        <p:grpSpPr>
          <a:xfrm>
            <a:off x="6775628" y="5535390"/>
            <a:ext cx="2478997" cy="1238595"/>
            <a:chOff x="1824142" y="1181924"/>
            <a:chExt cx="2478997" cy="1238595"/>
          </a:xfrm>
        </p:grpSpPr>
        <p:sp>
          <p:nvSpPr>
            <p:cNvPr id="97" name="Google Shape;229;g370fc456c4b_0_4">
              <a:extLst>
                <a:ext uri="{FF2B5EF4-FFF2-40B4-BE49-F238E27FC236}">
                  <a16:creationId xmlns:a16="http://schemas.microsoft.com/office/drawing/2014/main" id="{58780517-F2FF-7ED7-58E1-CF74BF95B94D}"/>
                </a:ext>
              </a:extLst>
            </p:cNvPr>
            <p:cNvSpPr/>
            <p:nvPr/>
          </p:nvSpPr>
          <p:spPr>
            <a:xfrm>
              <a:off x="1824142" y="1648792"/>
              <a:ext cx="1405846" cy="77172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8" name="Google Shape;230;g370fc456c4b_0_4">
              <a:extLst>
                <a:ext uri="{FF2B5EF4-FFF2-40B4-BE49-F238E27FC236}">
                  <a16:creationId xmlns:a16="http://schemas.microsoft.com/office/drawing/2014/main" id="{58D50BC6-0E91-D4B1-180B-C8325ECCBD4B}"/>
                </a:ext>
              </a:extLst>
            </p:cNvPr>
            <p:cNvCxnSpPr>
              <a:cxnSpLocks/>
              <a:stCxn id="99" idx="2"/>
            </p:cNvCxnSpPr>
            <p:nvPr/>
          </p:nvCxnSpPr>
          <p:spPr>
            <a:xfrm flipH="1">
              <a:off x="3221720" y="1500843"/>
              <a:ext cx="374608" cy="544341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9" name="Rectangle: Rounded Corners 98">
              <a:extLst>
                <a:ext uri="{FF2B5EF4-FFF2-40B4-BE49-F238E27FC236}">
                  <a16:creationId xmlns:a16="http://schemas.microsoft.com/office/drawing/2014/main" id="{EE78D0E4-7A06-5590-D236-14DABE738252}"/>
                </a:ext>
              </a:extLst>
            </p:cNvPr>
            <p:cNvSpPr/>
            <p:nvPr/>
          </p:nvSpPr>
          <p:spPr>
            <a:xfrm>
              <a:off x="2889516" y="1181924"/>
              <a:ext cx="1413623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Option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0971458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2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noProof="1"/>
              <a:t>bbv Software Services AG  |  21/07/2025</a:t>
            </a:r>
          </a:p>
        </p:txBody>
      </p:sp>
      <p:sp>
        <p:nvSpPr>
          <p:cNvPr id="201" name="Google Shape;201;p2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US" noProof="1"/>
              <a:t>FUNCTIONS IN THE TRELLO SYSTEM</a:t>
            </a:r>
          </a:p>
        </p:txBody>
      </p:sp>
      <p:sp>
        <p:nvSpPr>
          <p:cNvPr id="202" name="Google Shape;202;p2"/>
          <p:cNvSpPr txBox="1">
            <a:spLocks noGrp="1"/>
          </p:cNvSpPr>
          <p:nvPr>
            <p:ph type="body" idx="3"/>
          </p:nvPr>
        </p:nvSpPr>
        <p:spPr>
          <a:xfrm>
            <a:off x="9169200" y="1962000"/>
            <a:ext cx="2592000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</a:pPr>
            <a:endParaRPr lang="en-US" noProof="1"/>
          </a:p>
        </p:txBody>
      </p:sp>
      <p:grpSp>
        <p:nvGrpSpPr>
          <p:cNvPr id="203" name="Google Shape;203;p2"/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204" name="Google Shape;204;p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5" name="Google Shape;205;p2"/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206" name="Google Shape;206;p2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207" name="Google Shape;207;p2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9767AFE-8F07-8D89-A000-C14FF9A5FAF9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 noProof="1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AC55979-2A8E-F154-0AEC-D418BE761B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007885"/>
            <a:ext cx="12192000" cy="3120887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EF2CBE-9CA2-07D0-ED79-D5C301CA96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A367612-83FE-E4C9-8DCA-BC4EAB97EE9F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962FE58-A146-8B78-97A5-4CC2A4C0BF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IN TRELLO SYST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3781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3A6D70-2953-33FC-17BB-5CFC650E83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5B5CE69-1454-2556-7546-04C4F46C1D98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30FD9BF-2CD7-BE9D-784E-31EF0BFE1F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TAB IN TRELLO SYSTEM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8CE48A-1E56-C2F1-2E26-E7E884CEC8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63013"/>
          </a:xfrm>
          <a:prstGeom prst="rect">
            <a:avLst/>
          </a:prstGeom>
        </p:spPr>
      </p:pic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4B3DF29E-BBE8-8B5C-FE64-ABFA2ECF9BF9}"/>
              </a:ext>
            </a:extLst>
          </p:cNvPr>
          <p:cNvSpPr/>
          <p:nvPr/>
        </p:nvSpPr>
        <p:spPr>
          <a:xfrm>
            <a:off x="5902379" y="1753431"/>
            <a:ext cx="1777116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Google Shape;225;g370fc456c4b_0_4">
            <a:extLst>
              <a:ext uri="{FF2B5EF4-FFF2-40B4-BE49-F238E27FC236}">
                <a16:creationId xmlns:a16="http://schemas.microsoft.com/office/drawing/2014/main" id="{41181921-74BA-0B20-EE41-83E7211D4DA8}"/>
              </a:ext>
            </a:extLst>
          </p:cNvPr>
          <p:cNvSpPr txBox="1"/>
          <p:nvPr/>
        </p:nvSpPr>
        <p:spPr>
          <a:xfrm>
            <a:off x="5918603" y="1703615"/>
            <a:ext cx="1760892" cy="337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eamplateCategory</a:t>
            </a:r>
          </a:p>
        </p:txBody>
      </p:sp>
      <p:sp>
        <p:nvSpPr>
          <p:cNvPr id="73" name="Google Shape;229;g370fc456c4b_0_4">
            <a:extLst>
              <a:ext uri="{FF2B5EF4-FFF2-40B4-BE49-F238E27FC236}">
                <a16:creationId xmlns:a16="http://schemas.microsoft.com/office/drawing/2014/main" id="{48010874-7095-A449-8638-55B6C39A1AA9}"/>
              </a:ext>
            </a:extLst>
          </p:cNvPr>
          <p:cNvSpPr/>
          <p:nvPr/>
        </p:nvSpPr>
        <p:spPr>
          <a:xfrm>
            <a:off x="3882337" y="1767133"/>
            <a:ext cx="1541409" cy="291600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74" name="Google Shape;230;g370fc456c4b_0_4">
            <a:extLst>
              <a:ext uri="{FF2B5EF4-FFF2-40B4-BE49-F238E27FC236}">
                <a16:creationId xmlns:a16="http://schemas.microsoft.com/office/drawing/2014/main" id="{58A67F86-330A-5944-236B-4D91418770F6}"/>
              </a:ext>
            </a:extLst>
          </p:cNvPr>
          <p:cNvCxnSpPr>
            <a:cxnSpLocks/>
          </p:cNvCxnSpPr>
          <p:nvPr/>
        </p:nvCxnSpPr>
        <p:spPr>
          <a:xfrm flipH="1">
            <a:off x="5423746" y="1912933"/>
            <a:ext cx="478633" cy="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79" name="Google Shape;229;g370fc456c4b_0_4">
            <a:extLst>
              <a:ext uri="{FF2B5EF4-FFF2-40B4-BE49-F238E27FC236}">
                <a16:creationId xmlns:a16="http://schemas.microsoft.com/office/drawing/2014/main" id="{F4FEBCBE-082C-86C3-59DE-19D8AD322BD3}"/>
              </a:ext>
            </a:extLst>
          </p:cNvPr>
          <p:cNvSpPr/>
          <p:nvPr/>
        </p:nvSpPr>
        <p:spPr>
          <a:xfrm>
            <a:off x="3882337" y="2250484"/>
            <a:ext cx="892421" cy="914135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sp>
        <p:nvSpPr>
          <p:cNvPr id="80" name="Google Shape;229;g370fc456c4b_0_4">
            <a:extLst>
              <a:ext uri="{FF2B5EF4-FFF2-40B4-BE49-F238E27FC236}">
                <a16:creationId xmlns:a16="http://schemas.microsoft.com/office/drawing/2014/main" id="{9AF5BC69-9F7D-233C-5541-3AA2F2824E90}"/>
              </a:ext>
            </a:extLst>
          </p:cNvPr>
          <p:cNvSpPr/>
          <p:nvPr/>
        </p:nvSpPr>
        <p:spPr>
          <a:xfrm>
            <a:off x="3868010" y="3958536"/>
            <a:ext cx="2202511" cy="1130709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81" name="Google Shape;230;g370fc456c4b_0_4">
            <a:extLst>
              <a:ext uri="{FF2B5EF4-FFF2-40B4-BE49-F238E27FC236}">
                <a16:creationId xmlns:a16="http://schemas.microsoft.com/office/drawing/2014/main" id="{F355564D-787F-6642-E26A-29391E52CF92}"/>
              </a:ext>
            </a:extLst>
          </p:cNvPr>
          <p:cNvCxnSpPr>
            <a:cxnSpLocks/>
          </p:cNvCxnSpPr>
          <p:nvPr/>
        </p:nvCxnSpPr>
        <p:spPr>
          <a:xfrm flipV="1">
            <a:off x="3504778" y="4523890"/>
            <a:ext cx="350441" cy="245396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82" name="Group 81">
            <a:extLst>
              <a:ext uri="{FF2B5EF4-FFF2-40B4-BE49-F238E27FC236}">
                <a16:creationId xmlns:a16="http://schemas.microsoft.com/office/drawing/2014/main" id="{98EEC326-FE5B-0E4B-87E5-BA0A6E6C7827}"/>
              </a:ext>
            </a:extLst>
          </p:cNvPr>
          <p:cNvGrpSpPr/>
          <p:nvPr/>
        </p:nvGrpSpPr>
        <p:grpSpPr>
          <a:xfrm>
            <a:off x="3974733" y="5096038"/>
            <a:ext cx="2634532" cy="355118"/>
            <a:chOff x="3514477" y="5039900"/>
            <a:chExt cx="2634532" cy="355118"/>
          </a:xfrm>
        </p:grpSpPr>
        <p:sp>
          <p:nvSpPr>
            <p:cNvPr id="83" name="Google Shape;229;g370fc456c4b_0_4">
              <a:extLst>
                <a:ext uri="{FF2B5EF4-FFF2-40B4-BE49-F238E27FC236}">
                  <a16:creationId xmlns:a16="http://schemas.microsoft.com/office/drawing/2014/main" id="{833036AF-6DA1-FD23-89DE-802CCC316AE1}"/>
                </a:ext>
              </a:extLst>
            </p:cNvPr>
            <p:cNvSpPr/>
            <p:nvPr/>
          </p:nvSpPr>
          <p:spPr>
            <a:xfrm>
              <a:off x="3514477" y="5155098"/>
              <a:ext cx="1264257" cy="19613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4" name="Google Shape;230;g370fc456c4b_0_4">
              <a:extLst>
                <a:ext uri="{FF2B5EF4-FFF2-40B4-BE49-F238E27FC236}">
                  <a16:creationId xmlns:a16="http://schemas.microsoft.com/office/drawing/2014/main" id="{43141398-ED1C-DB87-5B61-7BB74D4BF73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78734" y="5248420"/>
              <a:ext cx="25789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5" name="Rectangle: Rounded Corners 84">
              <a:extLst>
                <a:ext uri="{FF2B5EF4-FFF2-40B4-BE49-F238E27FC236}">
                  <a16:creationId xmlns:a16="http://schemas.microsoft.com/office/drawing/2014/main" id="{3DF4116D-95CA-295E-EF21-46A88B8E90D1}"/>
                </a:ext>
              </a:extLst>
            </p:cNvPr>
            <p:cNvSpPr/>
            <p:nvPr/>
          </p:nvSpPr>
          <p:spPr>
            <a:xfrm>
              <a:off x="5048758" y="5089716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Google Shape;225;g370fc456c4b_0_4">
              <a:extLst>
                <a:ext uri="{FF2B5EF4-FFF2-40B4-BE49-F238E27FC236}">
                  <a16:creationId xmlns:a16="http://schemas.microsoft.com/office/drawing/2014/main" id="{7BA1C271-359B-7489-1734-834E87DD8829}"/>
                </a:ext>
              </a:extLst>
            </p:cNvPr>
            <p:cNvSpPr txBox="1"/>
            <p:nvPr/>
          </p:nvSpPr>
          <p:spPr>
            <a:xfrm>
              <a:off x="5064982" y="5039900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E58B456D-B0F5-23BD-F733-722B738C4356}"/>
              </a:ext>
            </a:extLst>
          </p:cNvPr>
          <p:cNvGrpSpPr/>
          <p:nvPr/>
        </p:nvGrpSpPr>
        <p:grpSpPr>
          <a:xfrm>
            <a:off x="2723949" y="5836850"/>
            <a:ext cx="1701978" cy="355118"/>
            <a:chOff x="2235472" y="5051827"/>
            <a:chExt cx="1701978" cy="355118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2E9CC88A-BC9B-04C2-D7E8-1DE6E7CBCAFE}"/>
                </a:ext>
              </a:extLst>
            </p:cNvPr>
            <p:cNvSpPr/>
            <p:nvPr/>
          </p:nvSpPr>
          <p:spPr>
            <a:xfrm>
              <a:off x="3514478" y="5174568"/>
              <a:ext cx="422972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0A913C80-E97D-0379-C745-3F2D1A4E2F7F}"/>
                </a:ext>
              </a:extLst>
            </p:cNvPr>
            <p:cNvCxnSpPr>
              <a:cxnSpLocks/>
              <a:endCxn id="88" idx="1"/>
            </p:cNvCxnSpPr>
            <p:nvPr/>
          </p:nvCxnSpPr>
          <p:spPr>
            <a:xfrm>
              <a:off x="3331747" y="5262898"/>
              <a:ext cx="18273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81CB1A3D-1B46-E644-2203-1BFD1ADE27E9}"/>
                </a:ext>
              </a:extLst>
            </p:cNvPr>
            <p:cNvSpPr/>
            <p:nvPr/>
          </p:nvSpPr>
          <p:spPr>
            <a:xfrm>
              <a:off x="2235472" y="5101643"/>
              <a:ext cx="1096275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1" name="Google Shape;225;g370fc456c4b_0_4">
              <a:extLst>
                <a:ext uri="{FF2B5EF4-FFF2-40B4-BE49-F238E27FC236}">
                  <a16:creationId xmlns:a16="http://schemas.microsoft.com/office/drawing/2014/main" id="{EECD44CB-A32D-6AAD-D714-8B6750419BD8}"/>
                </a:ext>
              </a:extLst>
            </p:cNvPr>
            <p:cNvSpPr txBox="1"/>
            <p:nvPr/>
          </p:nvSpPr>
          <p:spPr>
            <a:xfrm>
              <a:off x="2251696" y="5051827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964A08F6-2893-A213-E555-DA78D21781FD}"/>
              </a:ext>
            </a:extLst>
          </p:cNvPr>
          <p:cNvGrpSpPr/>
          <p:nvPr/>
        </p:nvGrpSpPr>
        <p:grpSpPr>
          <a:xfrm>
            <a:off x="4425927" y="5842527"/>
            <a:ext cx="1761519" cy="355118"/>
            <a:chOff x="3514477" y="5041066"/>
            <a:chExt cx="1761519" cy="355118"/>
          </a:xfrm>
        </p:grpSpPr>
        <p:sp>
          <p:nvSpPr>
            <p:cNvPr id="93" name="Google Shape;229;g370fc456c4b_0_4">
              <a:extLst>
                <a:ext uri="{FF2B5EF4-FFF2-40B4-BE49-F238E27FC236}">
                  <a16:creationId xmlns:a16="http://schemas.microsoft.com/office/drawing/2014/main" id="{C00F6495-1CC1-A264-FB19-D6DE47A96FF7}"/>
                </a:ext>
              </a:extLst>
            </p:cNvPr>
            <p:cNvSpPr/>
            <p:nvPr/>
          </p:nvSpPr>
          <p:spPr>
            <a:xfrm>
              <a:off x="3514477" y="5162640"/>
              <a:ext cx="465311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4" name="Google Shape;230;g370fc456c4b_0_4">
              <a:extLst>
                <a:ext uri="{FF2B5EF4-FFF2-40B4-BE49-F238E27FC236}">
                  <a16:creationId xmlns:a16="http://schemas.microsoft.com/office/drawing/2014/main" id="{2E0E37B9-3EE5-0F4B-FE03-4D689CF52F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9788" y="5250971"/>
              <a:ext cx="19215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5" name="Rectangle: Rounded Corners 94">
              <a:extLst>
                <a:ext uri="{FF2B5EF4-FFF2-40B4-BE49-F238E27FC236}">
                  <a16:creationId xmlns:a16="http://schemas.microsoft.com/office/drawing/2014/main" id="{13139D3E-1C9D-D7BF-611B-D6D91E80DE47}"/>
                </a:ext>
              </a:extLst>
            </p:cNvPr>
            <p:cNvSpPr/>
            <p:nvPr/>
          </p:nvSpPr>
          <p:spPr>
            <a:xfrm>
              <a:off x="4175745" y="5090882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Google Shape;225;g370fc456c4b_0_4">
              <a:extLst>
                <a:ext uri="{FF2B5EF4-FFF2-40B4-BE49-F238E27FC236}">
                  <a16:creationId xmlns:a16="http://schemas.microsoft.com/office/drawing/2014/main" id="{ADC7C106-248C-FC88-B32E-C820BE68A9E3}"/>
                </a:ext>
              </a:extLst>
            </p:cNvPr>
            <p:cNvSpPr txBox="1"/>
            <p:nvPr/>
          </p:nvSpPr>
          <p:spPr>
            <a:xfrm>
              <a:off x="4191969" y="5041066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12EAF277-3A9D-627E-5740-D472E40CDEC1}"/>
              </a:ext>
            </a:extLst>
          </p:cNvPr>
          <p:cNvGrpSpPr/>
          <p:nvPr/>
        </p:nvGrpSpPr>
        <p:grpSpPr>
          <a:xfrm>
            <a:off x="2309643" y="5354676"/>
            <a:ext cx="3592736" cy="501494"/>
            <a:chOff x="1870040" y="4969284"/>
            <a:chExt cx="3592736" cy="501494"/>
          </a:xfrm>
        </p:grpSpPr>
        <p:sp>
          <p:nvSpPr>
            <p:cNvPr id="98" name="Google Shape;229;g370fc456c4b_0_4">
              <a:extLst>
                <a:ext uri="{FF2B5EF4-FFF2-40B4-BE49-F238E27FC236}">
                  <a16:creationId xmlns:a16="http://schemas.microsoft.com/office/drawing/2014/main" id="{FE38FE07-A422-8FC4-A74B-5C78020CBC2B}"/>
                </a:ext>
              </a:extLst>
            </p:cNvPr>
            <p:cNvSpPr/>
            <p:nvPr/>
          </p:nvSpPr>
          <p:spPr>
            <a:xfrm>
              <a:off x="3514478" y="5174568"/>
              <a:ext cx="1948298" cy="29621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9" name="Google Shape;230;g370fc456c4b_0_4">
              <a:extLst>
                <a:ext uri="{FF2B5EF4-FFF2-40B4-BE49-F238E27FC236}">
                  <a16:creationId xmlns:a16="http://schemas.microsoft.com/office/drawing/2014/main" id="{A73B4519-6122-F132-B254-83AFB3FA6E4D}"/>
                </a:ext>
              </a:extLst>
            </p:cNvPr>
            <p:cNvCxnSpPr>
              <a:cxnSpLocks/>
              <a:stCxn id="100" idx="3"/>
              <a:endCxn id="98" idx="1"/>
            </p:cNvCxnSpPr>
            <p:nvPr/>
          </p:nvCxnSpPr>
          <p:spPr>
            <a:xfrm>
              <a:off x="2966315" y="5171751"/>
              <a:ext cx="548163" cy="15092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A9F18237-F4C5-0806-A8FF-CB6EBC4723E2}"/>
                </a:ext>
              </a:extLst>
            </p:cNvPr>
            <p:cNvSpPr/>
            <p:nvPr/>
          </p:nvSpPr>
          <p:spPr>
            <a:xfrm>
              <a:off x="1870040" y="5019100"/>
              <a:ext cx="1096275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Google Shape;225;g370fc456c4b_0_4">
              <a:extLst>
                <a:ext uri="{FF2B5EF4-FFF2-40B4-BE49-F238E27FC236}">
                  <a16:creationId xmlns:a16="http://schemas.microsoft.com/office/drawing/2014/main" id="{CD8C5640-D974-195E-CD20-AE99056EB8B4}"/>
                </a:ext>
              </a:extLst>
            </p:cNvPr>
            <p:cNvSpPr txBox="1"/>
            <p:nvPr/>
          </p:nvSpPr>
          <p:spPr>
            <a:xfrm>
              <a:off x="1886264" y="4969284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444C845C-E960-95C3-3AD7-B8FB5340A1C2}"/>
              </a:ext>
            </a:extLst>
          </p:cNvPr>
          <p:cNvGrpSpPr/>
          <p:nvPr/>
        </p:nvGrpSpPr>
        <p:grpSpPr>
          <a:xfrm>
            <a:off x="3910577" y="3506956"/>
            <a:ext cx="3702133" cy="355118"/>
            <a:chOff x="3514477" y="5043705"/>
            <a:chExt cx="3702133" cy="355118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770F090F-0E12-11E0-68B7-A9C3A53AE54D}"/>
                </a:ext>
              </a:extLst>
            </p:cNvPr>
            <p:cNvSpPr/>
            <p:nvPr/>
          </p:nvSpPr>
          <p:spPr>
            <a:xfrm>
              <a:off x="3514477" y="5155098"/>
              <a:ext cx="2329878" cy="19613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1B103711-A64C-439B-B2C9-92133D077AC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53346" y="5248130"/>
              <a:ext cx="25789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5F9FC22E-F55C-B4E9-EBD0-736A34C1E99E}"/>
                </a:ext>
              </a:extLst>
            </p:cNvPr>
            <p:cNvSpPr/>
            <p:nvPr/>
          </p:nvSpPr>
          <p:spPr>
            <a:xfrm>
              <a:off x="6116359" y="5093521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" name="Google Shape;225;g370fc456c4b_0_4">
              <a:extLst>
                <a:ext uri="{FF2B5EF4-FFF2-40B4-BE49-F238E27FC236}">
                  <a16:creationId xmlns:a16="http://schemas.microsoft.com/office/drawing/2014/main" id="{EC0F61F3-2BA5-500A-C8BC-9AD50263B90F}"/>
                </a:ext>
              </a:extLst>
            </p:cNvPr>
            <p:cNvSpPr txBox="1"/>
            <p:nvPr/>
          </p:nvSpPr>
          <p:spPr>
            <a:xfrm>
              <a:off x="6132583" y="5043705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537561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0F60F5-CE61-3C1C-2EEF-68C1D4CD84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11B5EFF-087B-C317-EE86-2496106FE11F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0E7303-2EE5-BEC2-4B0F-FA79B09750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TAB IN TRELLO SYSTEM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616BF11-1A7D-4865-7F4C-8AAB1ABC2F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098000"/>
            <a:ext cx="12228057" cy="689768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6A8DC18D-EA57-4A65-FF4A-445CF93C2A15}"/>
              </a:ext>
            </a:extLst>
          </p:cNvPr>
          <p:cNvGrpSpPr/>
          <p:nvPr/>
        </p:nvGrpSpPr>
        <p:grpSpPr>
          <a:xfrm>
            <a:off x="2461008" y="1439107"/>
            <a:ext cx="1100251" cy="1498899"/>
            <a:chOff x="3226445" y="4121583"/>
            <a:chExt cx="1100251" cy="1498899"/>
          </a:xfrm>
        </p:grpSpPr>
        <p:sp>
          <p:nvSpPr>
            <p:cNvPr id="10" name="Google Shape;229;g370fc456c4b_0_4">
              <a:extLst>
                <a:ext uri="{FF2B5EF4-FFF2-40B4-BE49-F238E27FC236}">
                  <a16:creationId xmlns:a16="http://schemas.microsoft.com/office/drawing/2014/main" id="{E299029F-01A6-1C5E-D757-E58A00C1651E}"/>
                </a:ext>
              </a:extLst>
            </p:cNvPr>
            <p:cNvSpPr/>
            <p:nvPr/>
          </p:nvSpPr>
          <p:spPr>
            <a:xfrm>
              <a:off x="3514477" y="5155097"/>
              <a:ext cx="479190" cy="46538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" name="Google Shape;230;g370fc456c4b_0_4">
              <a:extLst>
                <a:ext uri="{FF2B5EF4-FFF2-40B4-BE49-F238E27FC236}">
                  <a16:creationId xmlns:a16="http://schemas.microsoft.com/office/drawing/2014/main" id="{453A25F7-DF91-D8B0-BA50-63A57D056392}"/>
                </a:ext>
              </a:extLst>
            </p:cNvPr>
            <p:cNvCxnSpPr>
              <a:cxnSpLocks/>
            </p:cNvCxnSpPr>
            <p:nvPr/>
          </p:nvCxnSpPr>
          <p:spPr>
            <a:xfrm>
              <a:off x="3758178" y="4515252"/>
              <a:ext cx="0" cy="63984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75685869-8804-4367-577A-8534C55BF6B9}"/>
                </a:ext>
              </a:extLst>
            </p:cNvPr>
            <p:cNvSpPr/>
            <p:nvPr/>
          </p:nvSpPr>
          <p:spPr>
            <a:xfrm>
              <a:off x="3226445" y="4171399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Google Shape;225;g370fc456c4b_0_4">
              <a:extLst>
                <a:ext uri="{FF2B5EF4-FFF2-40B4-BE49-F238E27FC236}">
                  <a16:creationId xmlns:a16="http://schemas.microsoft.com/office/drawing/2014/main" id="{F86F7E0F-A1B2-5B3B-94D7-0873EBF330B2}"/>
                </a:ext>
              </a:extLst>
            </p:cNvPr>
            <p:cNvSpPr txBox="1"/>
            <p:nvPr/>
          </p:nvSpPr>
          <p:spPr>
            <a:xfrm>
              <a:off x="3242669" y="4121583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3EC6699-C91C-212E-B8B1-11EFEBAD5824}"/>
              </a:ext>
            </a:extLst>
          </p:cNvPr>
          <p:cNvGrpSpPr/>
          <p:nvPr/>
        </p:nvGrpSpPr>
        <p:grpSpPr>
          <a:xfrm>
            <a:off x="3287483" y="2515038"/>
            <a:ext cx="3130026" cy="355118"/>
            <a:chOff x="3514476" y="5061816"/>
            <a:chExt cx="3130026" cy="355118"/>
          </a:xfrm>
        </p:grpSpPr>
        <p:sp>
          <p:nvSpPr>
            <p:cNvPr id="17" name="Google Shape;229;g370fc456c4b_0_4">
              <a:extLst>
                <a:ext uri="{FF2B5EF4-FFF2-40B4-BE49-F238E27FC236}">
                  <a16:creationId xmlns:a16="http://schemas.microsoft.com/office/drawing/2014/main" id="{E321639E-9FCB-8051-766D-DC1262E3A0E2}"/>
                </a:ext>
              </a:extLst>
            </p:cNvPr>
            <p:cNvSpPr/>
            <p:nvPr/>
          </p:nvSpPr>
          <p:spPr>
            <a:xfrm>
              <a:off x="3514476" y="5155098"/>
              <a:ext cx="1610515" cy="21837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" name="Google Shape;230;g370fc456c4b_0_4">
              <a:extLst>
                <a:ext uri="{FF2B5EF4-FFF2-40B4-BE49-F238E27FC236}">
                  <a16:creationId xmlns:a16="http://schemas.microsoft.com/office/drawing/2014/main" id="{621A5E58-6A8B-8317-2AD1-37D61883D509}"/>
                </a:ext>
              </a:extLst>
            </p:cNvPr>
            <p:cNvCxnSpPr>
              <a:cxnSpLocks/>
              <a:stCxn id="19" idx="1"/>
              <a:endCxn id="17" idx="3"/>
            </p:cNvCxnSpPr>
            <p:nvPr/>
          </p:nvCxnSpPr>
          <p:spPr>
            <a:xfrm flipH="1">
              <a:off x="5124991" y="5264283"/>
              <a:ext cx="419260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219DAE58-843B-ABB5-DBBC-A80693FC7BE2}"/>
                </a:ext>
              </a:extLst>
            </p:cNvPr>
            <p:cNvSpPr/>
            <p:nvPr/>
          </p:nvSpPr>
          <p:spPr>
            <a:xfrm>
              <a:off x="5544251" y="5111632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Google Shape;225;g370fc456c4b_0_4">
              <a:extLst>
                <a:ext uri="{FF2B5EF4-FFF2-40B4-BE49-F238E27FC236}">
                  <a16:creationId xmlns:a16="http://schemas.microsoft.com/office/drawing/2014/main" id="{224687C1-6A70-B8B9-A9DE-5D1E0EC59A06}"/>
                </a:ext>
              </a:extLst>
            </p:cNvPr>
            <p:cNvSpPr txBox="1"/>
            <p:nvPr/>
          </p:nvSpPr>
          <p:spPr>
            <a:xfrm>
              <a:off x="5560475" y="5061816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783F008-CE2C-1814-52EA-2383754A8D0B}"/>
              </a:ext>
            </a:extLst>
          </p:cNvPr>
          <p:cNvGrpSpPr/>
          <p:nvPr/>
        </p:nvGrpSpPr>
        <p:grpSpPr>
          <a:xfrm>
            <a:off x="1094525" y="4600197"/>
            <a:ext cx="3743289" cy="381156"/>
            <a:chOff x="1765466" y="5131320"/>
            <a:chExt cx="3743289" cy="381156"/>
          </a:xfrm>
        </p:grpSpPr>
        <p:sp>
          <p:nvSpPr>
            <p:cNvPr id="25" name="Google Shape;229;g370fc456c4b_0_4">
              <a:extLst>
                <a:ext uri="{FF2B5EF4-FFF2-40B4-BE49-F238E27FC236}">
                  <a16:creationId xmlns:a16="http://schemas.microsoft.com/office/drawing/2014/main" id="{56D8CA4B-1FA7-520A-EC3F-3353CB3F4866}"/>
                </a:ext>
              </a:extLst>
            </p:cNvPr>
            <p:cNvSpPr/>
            <p:nvPr/>
          </p:nvSpPr>
          <p:spPr>
            <a:xfrm>
              <a:off x="3514476" y="5155098"/>
              <a:ext cx="1994279" cy="35737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6" name="Google Shape;230;g370fc456c4b_0_4">
              <a:extLst>
                <a:ext uri="{FF2B5EF4-FFF2-40B4-BE49-F238E27FC236}">
                  <a16:creationId xmlns:a16="http://schemas.microsoft.com/office/drawing/2014/main" id="{7214E54F-DE37-5A29-CE81-BAF0227284AA}"/>
                </a:ext>
              </a:extLst>
            </p:cNvPr>
            <p:cNvCxnSpPr>
              <a:cxnSpLocks/>
              <a:endCxn id="25" idx="1"/>
            </p:cNvCxnSpPr>
            <p:nvPr/>
          </p:nvCxnSpPr>
          <p:spPr>
            <a:xfrm>
              <a:off x="2917184" y="5333787"/>
              <a:ext cx="597292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7D0697A0-3660-2691-21C3-571112FEE91D}"/>
                </a:ext>
              </a:extLst>
            </p:cNvPr>
            <p:cNvSpPr/>
            <p:nvPr/>
          </p:nvSpPr>
          <p:spPr>
            <a:xfrm>
              <a:off x="1765466" y="5181136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Google Shape;225;g370fc456c4b_0_4">
              <a:extLst>
                <a:ext uri="{FF2B5EF4-FFF2-40B4-BE49-F238E27FC236}">
                  <a16:creationId xmlns:a16="http://schemas.microsoft.com/office/drawing/2014/main" id="{E140C43C-5515-5936-09CA-E5E70F7BD47F}"/>
                </a:ext>
              </a:extLst>
            </p:cNvPr>
            <p:cNvSpPr txBox="1"/>
            <p:nvPr/>
          </p:nvSpPr>
          <p:spPr>
            <a:xfrm>
              <a:off x="1781690" y="5131320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12B4ECC-298E-ED88-1E4A-59F9B3E395AA}"/>
              </a:ext>
            </a:extLst>
          </p:cNvPr>
          <p:cNvGrpSpPr/>
          <p:nvPr/>
        </p:nvGrpSpPr>
        <p:grpSpPr>
          <a:xfrm>
            <a:off x="1094525" y="4990351"/>
            <a:ext cx="3127618" cy="355118"/>
            <a:chOff x="1602433" y="5131320"/>
            <a:chExt cx="3127618" cy="355118"/>
          </a:xfrm>
        </p:grpSpPr>
        <p:sp>
          <p:nvSpPr>
            <p:cNvPr id="37" name="Google Shape;229;g370fc456c4b_0_4">
              <a:extLst>
                <a:ext uri="{FF2B5EF4-FFF2-40B4-BE49-F238E27FC236}">
                  <a16:creationId xmlns:a16="http://schemas.microsoft.com/office/drawing/2014/main" id="{ED731398-A7B4-ACFC-87EB-71FEAD92319D}"/>
                </a:ext>
              </a:extLst>
            </p:cNvPr>
            <p:cNvSpPr/>
            <p:nvPr/>
          </p:nvSpPr>
          <p:spPr>
            <a:xfrm>
              <a:off x="3514476" y="5155098"/>
              <a:ext cx="1215575" cy="13831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8" name="Google Shape;230;g370fc456c4b_0_4">
              <a:extLst>
                <a:ext uri="{FF2B5EF4-FFF2-40B4-BE49-F238E27FC236}">
                  <a16:creationId xmlns:a16="http://schemas.microsoft.com/office/drawing/2014/main" id="{6D5E8582-1BBB-F3E9-0F1E-9126749A9691}"/>
                </a:ext>
              </a:extLst>
            </p:cNvPr>
            <p:cNvCxnSpPr>
              <a:cxnSpLocks/>
              <a:endCxn id="37" idx="1"/>
            </p:cNvCxnSpPr>
            <p:nvPr/>
          </p:nvCxnSpPr>
          <p:spPr>
            <a:xfrm flipV="1">
              <a:off x="2754151" y="5224255"/>
              <a:ext cx="760325" cy="10193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12480514-CF5C-6475-3725-BDA4B0D2EBA9}"/>
                </a:ext>
              </a:extLst>
            </p:cNvPr>
            <p:cNvSpPr/>
            <p:nvPr/>
          </p:nvSpPr>
          <p:spPr>
            <a:xfrm>
              <a:off x="1602433" y="5181136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Google Shape;225;g370fc456c4b_0_4">
              <a:extLst>
                <a:ext uri="{FF2B5EF4-FFF2-40B4-BE49-F238E27FC236}">
                  <a16:creationId xmlns:a16="http://schemas.microsoft.com/office/drawing/2014/main" id="{F39843C7-5C6D-A725-9463-8054BE691C31}"/>
                </a:ext>
              </a:extLst>
            </p:cNvPr>
            <p:cNvSpPr txBox="1"/>
            <p:nvPr/>
          </p:nvSpPr>
          <p:spPr>
            <a:xfrm>
              <a:off x="1618657" y="5131320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C268BA70-523B-0D7B-13C5-53942D22BD4C}"/>
              </a:ext>
            </a:extLst>
          </p:cNvPr>
          <p:cNvGrpSpPr/>
          <p:nvPr/>
        </p:nvGrpSpPr>
        <p:grpSpPr>
          <a:xfrm>
            <a:off x="1090549" y="5535815"/>
            <a:ext cx="2247673" cy="355118"/>
            <a:chOff x="1689777" y="5071451"/>
            <a:chExt cx="2247673" cy="355118"/>
          </a:xfrm>
        </p:grpSpPr>
        <p:sp>
          <p:nvSpPr>
            <p:cNvPr id="46" name="Google Shape;229;g370fc456c4b_0_4">
              <a:extLst>
                <a:ext uri="{FF2B5EF4-FFF2-40B4-BE49-F238E27FC236}">
                  <a16:creationId xmlns:a16="http://schemas.microsoft.com/office/drawing/2014/main" id="{F2747F17-E796-E962-2683-40C597CDA751}"/>
                </a:ext>
              </a:extLst>
            </p:cNvPr>
            <p:cNvSpPr/>
            <p:nvPr/>
          </p:nvSpPr>
          <p:spPr>
            <a:xfrm>
              <a:off x="3514478" y="5174568"/>
              <a:ext cx="422972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7" name="Google Shape;230;g370fc456c4b_0_4">
              <a:extLst>
                <a:ext uri="{FF2B5EF4-FFF2-40B4-BE49-F238E27FC236}">
                  <a16:creationId xmlns:a16="http://schemas.microsoft.com/office/drawing/2014/main" id="{BFCC78FE-8DE9-6D7D-DF64-6483AEC84A56}"/>
                </a:ext>
              </a:extLst>
            </p:cNvPr>
            <p:cNvCxnSpPr>
              <a:cxnSpLocks/>
              <a:endCxn id="46" idx="1"/>
            </p:cNvCxnSpPr>
            <p:nvPr/>
          </p:nvCxnSpPr>
          <p:spPr>
            <a:xfrm>
              <a:off x="2790028" y="5262898"/>
              <a:ext cx="724450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C8675FF0-8F2E-5285-54FA-0B980D1A9F80}"/>
                </a:ext>
              </a:extLst>
            </p:cNvPr>
            <p:cNvSpPr/>
            <p:nvPr/>
          </p:nvSpPr>
          <p:spPr>
            <a:xfrm>
              <a:off x="1689777" y="5121267"/>
              <a:ext cx="1096275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9" name="Google Shape;225;g370fc456c4b_0_4">
              <a:extLst>
                <a:ext uri="{FF2B5EF4-FFF2-40B4-BE49-F238E27FC236}">
                  <a16:creationId xmlns:a16="http://schemas.microsoft.com/office/drawing/2014/main" id="{3066B995-5DA8-D945-597A-CF37A6BFEDD5}"/>
                </a:ext>
              </a:extLst>
            </p:cNvPr>
            <p:cNvSpPr txBox="1"/>
            <p:nvPr/>
          </p:nvSpPr>
          <p:spPr>
            <a:xfrm>
              <a:off x="1706001" y="5071451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92C0EE9C-AD9C-4AFC-41F1-DADD9115DEF4}"/>
              </a:ext>
            </a:extLst>
          </p:cNvPr>
          <p:cNvGrpSpPr/>
          <p:nvPr/>
        </p:nvGrpSpPr>
        <p:grpSpPr>
          <a:xfrm>
            <a:off x="3391231" y="5505241"/>
            <a:ext cx="1790375" cy="355118"/>
            <a:chOff x="3485621" y="5041066"/>
            <a:chExt cx="1790375" cy="355118"/>
          </a:xfrm>
        </p:grpSpPr>
        <p:sp>
          <p:nvSpPr>
            <p:cNvPr id="51" name="Google Shape;229;g370fc456c4b_0_4">
              <a:extLst>
                <a:ext uri="{FF2B5EF4-FFF2-40B4-BE49-F238E27FC236}">
                  <a16:creationId xmlns:a16="http://schemas.microsoft.com/office/drawing/2014/main" id="{114ABA63-FAF4-F120-4D4A-C2FD9AE9F0D8}"/>
                </a:ext>
              </a:extLst>
            </p:cNvPr>
            <p:cNvSpPr/>
            <p:nvPr/>
          </p:nvSpPr>
          <p:spPr>
            <a:xfrm>
              <a:off x="3485621" y="5174756"/>
              <a:ext cx="494167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2" name="Google Shape;230;g370fc456c4b_0_4">
              <a:extLst>
                <a:ext uri="{FF2B5EF4-FFF2-40B4-BE49-F238E27FC236}">
                  <a16:creationId xmlns:a16="http://schemas.microsoft.com/office/drawing/2014/main" id="{2EE2D7CF-122B-9761-730D-DA861BD8F5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9788" y="5250971"/>
              <a:ext cx="19215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5E44C1AE-EBCC-9BA5-E98E-35A7BAC6A1AF}"/>
                </a:ext>
              </a:extLst>
            </p:cNvPr>
            <p:cNvSpPr/>
            <p:nvPr/>
          </p:nvSpPr>
          <p:spPr>
            <a:xfrm>
              <a:off x="4175745" y="5090882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Google Shape;225;g370fc456c4b_0_4">
              <a:extLst>
                <a:ext uri="{FF2B5EF4-FFF2-40B4-BE49-F238E27FC236}">
                  <a16:creationId xmlns:a16="http://schemas.microsoft.com/office/drawing/2014/main" id="{25112BE7-40EF-CC88-39E9-FC0E0F1FA345}"/>
                </a:ext>
              </a:extLst>
            </p:cNvPr>
            <p:cNvSpPr txBox="1"/>
            <p:nvPr/>
          </p:nvSpPr>
          <p:spPr>
            <a:xfrm>
              <a:off x="4191969" y="5041066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01987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B6A6FA-962C-70B7-2148-61B7ED697E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AA69354-1D32-B28B-64CD-5751404EBE01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3029499-DD9D-2518-857E-347ADCB90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TAB IN TRELLO SYSTEM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493A6B-BC53-E9F4-18DF-6255A00A21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66296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B52FD1FC-FC38-07DA-C4FD-547999F7DCB7}"/>
              </a:ext>
            </a:extLst>
          </p:cNvPr>
          <p:cNvGrpSpPr/>
          <p:nvPr/>
        </p:nvGrpSpPr>
        <p:grpSpPr>
          <a:xfrm>
            <a:off x="672890" y="3151310"/>
            <a:ext cx="8682866" cy="2608690"/>
            <a:chOff x="390930" y="5155098"/>
            <a:chExt cx="8682866" cy="2608690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3CF40D78-51E1-8C10-1E3E-C45641279F14}"/>
                </a:ext>
              </a:extLst>
            </p:cNvPr>
            <p:cNvSpPr/>
            <p:nvPr/>
          </p:nvSpPr>
          <p:spPr>
            <a:xfrm>
              <a:off x="3514476" y="5155098"/>
              <a:ext cx="5559320" cy="260869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6C4DD0E2-20FE-0706-B6A2-98C3C750A5CE}"/>
                </a:ext>
              </a:extLst>
            </p:cNvPr>
            <p:cNvCxnSpPr>
              <a:cxnSpLocks/>
              <a:endCxn id="6" idx="1"/>
            </p:cNvCxnSpPr>
            <p:nvPr/>
          </p:nvCxnSpPr>
          <p:spPr>
            <a:xfrm>
              <a:off x="1491181" y="5748852"/>
              <a:ext cx="2023295" cy="710591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FF67439C-DE74-D10D-C774-D9ED3DC8914F}"/>
                </a:ext>
              </a:extLst>
            </p:cNvPr>
            <p:cNvSpPr/>
            <p:nvPr/>
          </p:nvSpPr>
          <p:spPr>
            <a:xfrm>
              <a:off x="390930" y="5596201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Google Shape;225;g370fc456c4b_0_4">
              <a:extLst>
                <a:ext uri="{FF2B5EF4-FFF2-40B4-BE49-F238E27FC236}">
                  <a16:creationId xmlns:a16="http://schemas.microsoft.com/office/drawing/2014/main" id="{A957BD9B-3768-9E7A-585A-D7A66A61E931}"/>
                </a:ext>
              </a:extLst>
            </p:cNvPr>
            <p:cNvSpPr txBox="1"/>
            <p:nvPr/>
          </p:nvSpPr>
          <p:spPr>
            <a:xfrm>
              <a:off x="407154" y="5546385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59AE5A1-3AAD-3A18-4F05-8B3D833C0F7C}"/>
              </a:ext>
            </a:extLst>
          </p:cNvPr>
          <p:cNvGrpSpPr/>
          <p:nvPr/>
        </p:nvGrpSpPr>
        <p:grpSpPr>
          <a:xfrm>
            <a:off x="4484536" y="1716022"/>
            <a:ext cx="3876588" cy="913517"/>
            <a:chOff x="4289643" y="4632868"/>
            <a:chExt cx="3876588" cy="913517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EF39A0D6-874D-BD77-DB92-6643D053CDFE}"/>
                </a:ext>
              </a:extLst>
            </p:cNvPr>
            <p:cNvSpPr/>
            <p:nvPr/>
          </p:nvSpPr>
          <p:spPr>
            <a:xfrm>
              <a:off x="4289643" y="5254529"/>
              <a:ext cx="2011680" cy="29185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AAD022F5-A6B6-8131-E7D0-838F0986D47D}"/>
                </a:ext>
              </a:extLst>
            </p:cNvPr>
            <p:cNvCxnSpPr>
              <a:cxnSpLocks/>
              <a:endCxn id="30" idx="3"/>
            </p:cNvCxnSpPr>
            <p:nvPr/>
          </p:nvCxnSpPr>
          <p:spPr>
            <a:xfrm flipH="1">
              <a:off x="6301323" y="4858573"/>
              <a:ext cx="747422" cy="54188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389DC196-E75A-1F64-17F0-3F15C10D5667}"/>
                </a:ext>
              </a:extLst>
            </p:cNvPr>
            <p:cNvSpPr/>
            <p:nvPr/>
          </p:nvSpPr>
          <p:spPr>
            <a:xfrm>
              <a:off x="7065980" y="4682684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Google Shape;225;g370fc456c4b_0_4">
              <a:extLst>
                <a:ext uri="{FF2B5EF4-FFF2-40B4-BE49-F238E27FC236}">
                  <a16:creationId xmlns:a16="http://schemas.microsoft.com/office/drawing/2014/main" id="{3DAAE064-01CC-C2A7-7773-B66DC4A2EBEF}"/>
                </a:ext>
              </a:extLst>
            </p:cNvPr>
            <p:cNvSpPr txBox="1"/>
            <p:nvPr/>
          </p:nvSpPr>
          <p:spPr>
            <a:xfrm>
              <a:off x="7082204" y="4632868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877D39A-723C-3D8D-5A8A-2CD99A6FFB61}"/>
              </a:ext>
            </a:extLst>
          </p:cNvPr>
          <p:cNvGrpSpPr/>
          <p:nvPr/>
        </p:nvGrpSpPr>
        <p:grpSpPr>
          <a:xfrm>
            <a:off x="8446623" y="2694202"/>
            <a:ext cx="2951479" cy="389309"/>
            <a:chOff x="4783420" y="5177968"/>
            <a:chExt cx="2951479" cy="389309"/>
          </a:xfrm>
        </p:grpSpPr>
        <p:sp>
          <p:nvSpPr>
            <p:cNvPr id="62" name="Google Shape;229;g370fc456c4b_0_4">
              <a:extLst>
                <a:ext uri="{FF2B5EF4-FFF2-40B4-BE49-F238E27FC236}">
                  <a16:creationId xmlns:a16="http://schemas.microsoft.com/office/drawing/2014/main" id="{72C9826E-25C1-101A-B95E-C4D1D8AABEDF}"/>
                </a:ext>
              </a:extLst>
            </p:cNvPr>
            <p:cNvSpPr/>
            <p:nvPr/>
          </p:nvSpPr>
          <p:spPr>
            <a:xfrm>
              <a:off x="6283555" y="5229989"/>
              <a:ext cx="1451344" cy="3372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3" name="Google Shape;230;g370fc456c4b_0_4">
              <a:extLst>
                <a:ext uri="{FF2B5EF4-FFF2-40B4-BE49-F238E27FC236}">
                  <a16:creationId xmlns:a16="http://schemas.microsoft.com/office/drawing/2014/main" id="{EE18B70E-B8B3-D79A-8ED4-1F7781AC09A9}"/>
                </a:ext>
              </a:extLst>
            </p:cNvPr>
            <p:cNvCxnSpPr>
              <a:cxnSpLocks/>
              <a:endCxn id="62" idx="1"/>
            </p:cNvCxnSpPr>
            <p:nvPr/>
          </p:nvCxnSpPr>
          <p:spPr>
            <a:xfrm>
              <a:off x="5518011" y="5398633"/>
              <a:ext cx="765544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C171DA9B-34B7-8725-C271-D7055EAC43AE}"/>
                </a:ext>
              </a:extLst>
            </p:cNvPr>
            <p:cNvSpPr/>
            <p:nvPr/>
          </p:nvSpPr>
          <p:spPr>
            <a:xfrm>
              <a:off x="4783420" y="5227784"/>
              <a:ext cx="695217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Google Shape;225;g370fc456c4b_0_4">
              <a:extLst>
                <a:ext uri="{FF2B5EF4-FFF2-40B4-BE49-F238E27FC236}">
                  <a16:creationId xmlns:a16="http://schemas.microsoft.com/office/drawing/2014/main" id="{AE7717E3-2547-A490-C707-46A23975180F}"/>
                </a:ext>
              </a:extLst>
            </p:cNvPr>
            <p:cNvSpPr txBox="1"/>
            <p:nvPr/>
          </p:nvSpPr>
          <p:spPr>
            <a:xfrm>
              <a:off x="4799644" y="5177968"/>
              <a:ext cx="678993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0315425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Google Shape;899;p11"/>
          <p:cNvSpPr/>
          <p:nvPr/>
        </p:nvSpPr>
        <p:spPr>
          <a:xfrm>
            <a:off x="0" y="1098000"/>
            <a:ext cx="12192000" cy="1098000"/>
          </a:xfrm>
          <a:prstGeom prst="rect">
            <a:avLst/>
          </a:prstGeom>
          <a:gradFill>
            <a:gsLst>
              <a:gs pos="0">
                <a:srgbClr val="878789"/>
              </a:gs>
              <a:gs pos="50000">
                <a:srgbClr val="C4C4C6"/>
              </a:gs>
              <a:gs pos="100000">
                <a:srgbClr val="EBEBED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0" name="Google Shape;900;p1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noProof="1"/>
              <a:t>Intern | Trello Team</a:t>
            </a:r>
          </a:p>
          <a:p>
            <a:pPr marL="270000" lvl="0" indent="-1557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</a:pPr>
            <a:endParaRPr lang="en-US" noProof="1"/>
          </a:p>
        </p:txBody>
      </p:sp>
      <p:sp>
        <p:nvSpPr>
          <p:cNvPr id="901" name="Google Shape;901;p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Q&amp;A</a:t>
            </a:r>
          </a:p>
        </p:txBody>
      </p:sp>
      <p:pic>
        <p:nvPicPr>
          <p:cNvPr id="902" name="Google Shape;902;p11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6770" r="36769"/>
          <a:stretch/>
        </p:blipFill>
        <p:spPr>
          <a:xfrm>
            <a:off x="8128000" y="1098550"/>
            <a:ext cx="4064000" cy="575945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903" name="Google Shape;903;p11"/>
          <p:cNvSpPr txBox="1">
            <a:spLocks noGrp="1"/>
          </p:cNvSpPr>
          <p:nvPr>
            <p:ph type="body" idx="3"/>
          </p:nvPr>
        </p:nvSpPr>
        <p:spPr>
          <a:xfrm>
            <a:off x="431999" y="1098550"/>
            <a:ext cx="7263999" cy="1061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r>
              <a:rPr lang="en-US" sz="4400" noProof="1">
                <a:solidFill>
                  <a:schemeClr val="dk2"/>
                </a:solidFill>
              </a:rPr>
              <a:t>Thank you</a:t>
            </a:r>
            <a:endParaRPr lang="en-US" noProof="1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endParaRPr lang="en-US" sz="4400" noProof="1">
              <a:solidFill>
                <a:schemeClr val="dk2"/>
              </a:solidFill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4" name="Google Shape;914;p13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5" name="Google Shape;915;p1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916" name="Google Shape;916;p13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ow-to guides</a:t>
            </a:r>
            <a:endParaRPr lang="en-US" noProof="1"/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2" name="Google Shape;922;p14"/>
          <p:cNvGrpSpPr/>
          <p:nvPr/>
        </p:nvGrpSpPr>
        <p:grpSpPr>
          <a:xfrm>
            <a:off x="3929620" y="1744763"/>
            <a:ext cx="4932000" cy="4680000"/>
            <a:chOff x="3166213" y="1744763"/>
            <a:chExt cx="4932000" cy="4680000"/>
          </a:xfrm>
        </p:grpSpPr>
        <p:sp>
          <p:nvSpPr>
            <p:cNvPr id="923" name="Google Shape;923;p14"/>
            <p:cNvSpPr/>
            <p:nvPr/>
          </p:nvSpPr>
          <p:spPr>
            <a:xfrm>
              <a:off x="3166213" y="1744763"/>
              <a:ext cx="4932000" cy="468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4" name="Google Shape;924;p14"/>
            <p:cNvSpPr/>
            <p:nvPr/>
          </p:nvSpPr>
          <p:spPr>
            <a:xfrm>
              <a:off x="3262983" y="1845121"/>
              <a:ext cx="4738461" cy="447928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25" name="Google Shape;92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383979" y="1960763"/>
              <a:ext cx="4496469" cy="4248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6" name="Google Shape;926;p1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Master layouts &amp; slide library</a:t>
            </a:r>
          </a:p>
        </p:txBody>
      </p:sp>
      <p:sp>
        <p:nvSpPr>
          <p:cNvPr id="927" name="Google Shape;927;p14"/>
          <p:cNvSpPr txBox="1"/>
          <p:nvPr/>
        </p:nvSpPr>
        <p:spPr>
          <a:xfrm>
            <a:off x="428626" y="1530000"/>
            <a:ext cx="1692000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</a:pPr>
            <a:r>
              <a:rPr lang="en-US" sz="2100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sert new slide</a:t>
            </a:r>
            <a:endParaRPr lang="en-US" noProof="1"/>
          </a:p>
        </p:txBody>
      </p:sp>
      <p:sp>
        <p:nvSpPr>
          <p:cNvPr id="928" name="Google Shape;928;p14"/>
          <p:cNvSpPr/>
          <p:nvPr/>
        </p:nvSpPr>
        <p:spPr>
          <a:xfrm>
            <a:off x="9313788" y="1744763"/>
            <a:ext cx="2448000" cy="9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«New Slide»</a:t>
            </a:r>
            <a:endParaRPr lang="en-US" noProof="1"/>
          </a:p>
        </p:txBody>
      </p:sp>
      <p:sp>
        <p:nvSpPr>
          <p:cNvPr id="929" name="Google Shape;929;p14"/>
          <p:cNvSpPr/>
          <p:nvPr/>
        </p:nvSpPr>
        <p:spPr>
          <a:xfrm>
            <a:off x="10321788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30" name="Google Shape;930;p14"/>
          <p:cNvSpPr/>
          <p:nvPr/>
        </p:nvSpPr>
        <p:spPr>
          <a:xfrm>
            <a:off x="9313788" y="3037087"/>
            <a:ext cx="2448000" cy="17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layout</a:t>
            </a:r>
            <a:endParaRPr lang="en-US" noProof="1"/>
          </a:p>
          <a:p>
            <a:pPr marL="0" marR="0" lvl="0" indent="0" algn="ctr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oose the desired layout from the pre-programmed master layouts.</a:t>
            </a:r>
            <a:endParaRPr lang="en-US" noProof="1"/>
          </a:p>
        </p:txBody>
      </p:sp>
      <p:sp>
        <p:nvSpPr>
          <p:cNvPr id="931" name="Google Shape;931;p14"/>
          <p:cNvSpPr/>
          <p:nvPr/>
        </p:nvSpPr>
        <p:spPr>
          <a:xfrm>
            <a:off x="10321788" y="2821087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32" name="Google Shape;932;p14"/>
          <p:cNvSpPr/>
          <p:nvPr/>
        </p:nvSpPr>
        <p:spPr>
          <a:xfrm>
            <a:off x="9313788" y="5163295"/>
            <a:ext cx="2448000" cy="12644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 select layout from slide library</a:t>
            </a:r>
            <a:endParaRPr lang="en-US" noProof="1"/>
          </a:p>
        </p:txBody>
      </p:sp>
      <p:sp>
        <p:nvSpPr>
          <p:cNvPr id="933" name="Google Shape;933;p14"/>
          <p:cNvSpPr/>
          <p:nvPr/>
        </p:nvSpPr>
        <p:spPr>
          <a:xfrm>
            <a:off x="10321788" y="4947295"/>
            <a:ext cx="432000" cy="432000"/>
          </a:xfrm>
          <a:prstGeom prst="ellipse">
            <a:avLst/>
          </a:prstGeom>
          <a:solidFill>
            <a:srgbClr val="F5AD33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🡪</a:t>
            </a:r>
          </a:p>
        </p:txBody>
      </p:sp>
      <p:cxnSp>
        <p:nvCxnSpPr>
          <p:cNvPr id="934" name="Google Shape;934;p14"/>
          <p:cNvCxnSpPr/>
          <p:nvPr/>
        </p:nvCxnSpPr>
        <p:spPr>
          <a:xfrm rot="10800000">
            <a:off x="3025123" y="4015522"/>
            <a:ext cx="828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triangle" w="med" len="med"/>
            <a:tailEnd type="none" w="sm" len="sm"/>
          </a:ln>
        </p:spPr>
      </p:cxnSp>
      <p:cxnSp>
        <p:nvCxnSpPr>
          <p:cNvPr id="935" name="Google Shape;935;p14"/>
          <p:cNvCxnSpPr/>
          <p:nvPr/>
        </p:nvCxnSpPr>
        <p:spPr>
          <a:xfrm rot="10800000">
            <a:off x="3025123" y="3612089"/>
            <a:ext cx="0" cy="806866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936" name="Google Shape;936;p14"/>
          <p:cNvGrpSpPr/>
          <p:nvPr/>
        </p:nvGrpSpPr>
        <p:grpSpPr>
          <a:xfrm>
            <a:off x="2284793" y="2235503"/>
            <a:ext cx="1480660" cy="1376586"/>
            <a:chOff x="3710656" y="1233493"/>
            <a:chExt cx="1480660" cy="1376586"/>
          </a:xfrm>
        </p:grpSpPr>
        <p:sp>
          <p:nvSpPr>
            <p:cNvPr id="937" name="Google Shape;937;p14"/>
            <p:cNvSpPr/>
            <p:nvPr/>
          </p:nvSpPr>
          <p:spPr>
            <a:xfrm>
              <a:off x="3710656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38" name="Google Shape;938;p14"/>
            <p:cNvGrpSpPr/>
            <p:nvPr/>
          </p:nvGrpSpPr>
          <p:grpSpPr>
            <a:xfrm>
              <a:off x="3806711" y="1327786"/>
              <a:ext cx="1282285" cy="1188000"/>
              <a:chOff x="2276093" y="1317468"/>
              <a:chExt cx="1282285" cy="1188000"/>
            </a:xfrm>
          </p:grpSpPr>
          <p:pic>
            <p:nvPicPr>
              <p:cNvPr id="939" name="Google Shape;939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2276093" y="1317468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0" name="Google Shape;940;p14"/>
              <p:cNvSpPr/>
              <p:nvPr/>
            </p:nvSpPr>
            <p:spPr>
              <a:xfrm>
                <a:off x="2295919" y="1628800"/>
                <a:ext cx="468000" cy="720000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1" name="Google Shape;941;p14"/>
              <p:cNvSpPr/>
              <p:nvPr/>
            </p:nvSpPr>
            <p:spPr>
              <a:xfrm>
                <a:off x="2720799" y="1841269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lang="en-US" noProof="1"/>
              </a:p>
            </p:txBody>
          </p:sp>
        </p:grpSp>
      </p:grpSp>
      <p:grpSp>
        <p:nvGrpSpPr>
          <p:cNvPr id="942" name="Google Shape;942;p14"/>
          <p:cNvGrpSpPr/>
          <p:nvPr/>
        </p:nvGrpSpPr>
        <p:grpSpPr>
          <a:xfrm>
            <a:off x="2284793" y="4418955"/>
            <a:ext cx="1480660" cy="1376586"/>
            <a:chOff x="5496573" y="1233493"/>
            <a:chExt cx="1480660" cy="1376586"/>
          </a:xfrm>
        </p:grpSpPr>
        <p:sp>
          <p:nvSpPr>
            <p:cNvPr id="943" name="Google Shape;943;p14"/>
            <p:cNvSpPr/>
            <p:nvPr/>
          </p:nvSpPr>
          <p:spPr>
            <a:xfrm>
              <a:off x="5496573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44" name="Google Shape;944;p14"/>
            <p:cNvGrpSpPr/>
            <p:nvPr/>
          </p:nvGrpSpPr>
          <p:grpSpPr>
            <a:xfrm>
              <a:off x="5592628" y="1327786"/>
              <a:ext cx="1282285" cy="1188000"/>
              <a:chOff x="5592628" y="1327786"/>
              <a:chExt cx="1282285" cy="1188000"/>
            </a:xfrm>
          </p:grpSpPr>
          <p:pic>
            <p:nvPicPr>
              <p:cNvPr id="945" name="Google Shape;945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92628" y="1327786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6" name="Google Shape;946;p14"/>
              <p:cNvSpPr/>
              <p:nvPr/>
            </p:nvSpPr>
            <p:spPr>
              <a:xfrm>
                <a:off x="6037334" y="1628189"/>
                <a:ext cx="744012" cy="240684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7" name="Google Shape;947;p14"/>
              <p:cNvSpPr/>
              <p:nvPr/>
            </p:nvSpPr>
            <p:spPr>
              <a:xfrm>
                <a:off x="6447503" y="1840316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</a:t>
                </a:r>
                <a:endParaRPr lang="en-US" noProof="1"/>
              </a:p>
            </p:txBody>
          </p:sp>
        </p:grpSp>
      </p:grp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5"/>
          <p:cNvSpPr/>
          <p:nvPr/>
        </p:nvSpPr>
        <p:spPr>
          <a:xfrm>
            <a:off x="431999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original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slide in original presentation with Ctrl+C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 the target presentation, select the slide after which the original slide is to be inserted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n the tab «Home / Paste / Use Destination Theme».</a:t>
            </a:r>
            <a:endParaRPr lang="en-US" noProof="1"/>
          </a:p>
        </p:txBody>
      </p:sp>
      <p:sp>
        <p:nvSpPr>
          <p:cNvPr id="954" name="Google Shape;954;p15"/>
          <p:cNvSpPr/>
          <p:nvPr/>
        </p:nvSpPr>
        <p:spPr>
          <a:xfrm>
            <a:off x="3355376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ssign slide layou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nserted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desired layout in the tab «Home / Layout».</a:t>
            </a:r>
            <a:endParaRPr lang="en-US" noProof="1"/>
          </a:p>
        </p:txBody>
      </p:sp>
      <p:sp>
        <p:nvSpPr>
          <p:cNvPr id="955" name="Google Shape;955;p15"/>
          <p:cNvSpPr/>
          <p:nvPr/>
        </p:nvSpPr>
        <p:spPr>
          <a:xfrm>
            <a:off x="6278753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lide manually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all slide contents such as text blocks, images, etc. for position and size and manually adjust them to the new layout grid.</a:t>
            </a:r>
            <a:endParaRPr lang="en-US" noProof="1"/>
          </a:p>
        </p:txBody>
      </p:sp>
      <p:sp>
        <p:nvSpPr>
          <p:cNvPr id="956" name="Google Shape;956;p15"/>
          <p:cNvSpPr/>
          <p:nvPr/>
        </p:nvSpPr>
        <p:spPr>
          <a:xfrm>
            <a:off x="9202130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design</a:t>
            </a:r>
            <a:endParaRPr lang="en-US" noProof="1"/>
          </a:p>
          <a:p>
            <a:pPr marL="0" marR="0" lvl="0" indent="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dependently check: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nt type, sizes and font colour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of graphic element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alignmen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herence of the overall picture</a:t>
            </a:r>
            <a:endParaRPr lang="en-US" noProof="1"/>
          </a:p>
        </p:txBody>
      </p:sp>
      <p:sp>
        <p:nvSpPr>
          <p:cNvPr id="957" name="Google Shape;957;p1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461288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Transfer of existing slides into the new Master</a:t>
            </a:r>
          </a:p>
        </p:txBody>
      </p:sp>
      <p:sp>
        <p:nvSpPr>
          <p:cNvPr id="958" name="Google Shape;958;p15"/>
          <p:cNvSpPr/>
          <p:nvPr/>
        </p:nvSpPr>
        <p:spPr>
          <a:xfrm>
            <a:off x="1493999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59" name="Google Shape;959;p15"/>
          <p:cNvSpPr/>
          <p:nvPr/>
        </p:nvSpPr>
        <p:spPr>
          <a:xfrm>
            <a:off x="4417376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60" name="Google Shape;960;p15"/>
          <p:cNvSpPr/>
          <p:nvPr/>
        </p:nvSpPr>
        <p:spPr>
          <a:xfrm>
            <a:off x="7340753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lang="en-US" noProof="1"/>
          </a:p>
        </p:txBody>
      </p:sp>
      <p:sp>
        <p:nvSpPr>
          <p:cNvPr id="961" name="Google Shape;961;p15"/>
          <p:cNvSpPr/>
          <p:nvPr/>
        </p:nvSpPr>
        <p:spPr>
          <a:xfrm>
            <a:off x="10264130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lang="en-US" noProof="1"/>
          </a:p>
        </p:txBody>
      </p:sp>
      <p:pic>
        <p:nvPicPr>
          <p:cNvPr id="962" name="Google Shape;962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422400" y="4230000"/>
            <a:ext cx="1598065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pic>
        <p:nvPicPr>
          <p:cNvPr id="963" name="Google Shape;963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081200" y="5400000"/>
            <a:ext cx="1608771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grpSp>
        <p:nvGrpSpPr>
          <p:cNvPr id="964" name="Google Shape;964;p15"/>
          <p:cNvGrpSpPr/>
          <p:nvPr/>
        </p:nvGrpSpPr>
        <p:grpSpPr>
          <a:xfrm>
            <a:off x="6713823" y="5249979"/>
            <a:ext cx="282196" cy="641123"/>
            <a:chOff x="1199222" y="4392591"/>
            <a:chExt cx="1140370" cy="622662"/>
          </a:xfrm>
        </p:grpSpPr>
        <p:cxnSp>
          <p:nvCxnSpPr>
            <p:cNvPr id="965" name="Google Shape;965;p15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966" name="Google Shape;966;p15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967" name="Google Shape;967;p15"/>
          <p:cNvSpPr/>
          <p:nvPr/>
        </p:nvSpPr>
        <p:spPr>
          <a:xfrm flipH="1">
            <a:off x="9346130" y="5238000"/>
            <a:ext cx="2268000" cy="1044865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144000" tIns="144000" rIns="144000" bIns="1440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ortant:</a:t>
            </a:r>
            <a:endParaRPr lang="en-US" noProof="1"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1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en transferring existing slides, always carry out all four steps.</a:t>
            </a:r>
            <a:endParaRPr lang="en-US" noProof="1"/>
          </a:p>
        </p:txBody>
      </p:sp>
      <p:grpSp>
        <p:nvGrpSpPr>
          <p:cNvPr id="968" name="Google Shape;968;p15"/>
          <p:cNvGrpSpPr/>
          <p:nvPr/>
        </p:nvGrpSpPr>
        <p:grpSpPr>
          <a:xfrm>
            <a:off x="3606866" y="3925238"/>
            <a:ext cx="2053020" cy="972000"/>
            <a:chOff x="3513767" y="4341476"/>
            <a:chExt cx="2053020" cy="972000"/>
          </a:xfrm>
        </p:grpSpPr>
        <p:sp>
          <p:nvSpPr>
            <p:cNvPr id="969" name="Google Shape;969;p15"/>
            <p:cNvSpPr/>
            <p:nvPr/>
          </p:nvSpPr>
          <p:spPr>
            <a:xfrm>
              <a:off x="3513767" y="4341476"/>
              <a:ext cx="2053020" cy="97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0" name="Google Shape;970;p15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594278" y="4431476"/>
              <a:ext cx="1891999" cy="79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1" name="Google Shape;971;p15"/>
            <p:cNvSpPr/>
            <p:nvPr/>
          </p:nvSpPr>
          <p:spPr>
            <a:xfrm>
              <a:off x="3921135" y="4430489"/>
              <a:ext cx="454277" cy="233829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2" name="Google Shape;972;p15"/>
            <p:cNvSpPr/>
            <p:nvPr/>
          </p:nvSpPr>
          <p:spPr>
            <a:xfrm>
              <a:off x="4903596" y="4608719"/>
              <a:ext cx="555845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73" name="Google Shape;973;p15"/>
          <p:cNvGrpSpPr/>
          <p:nvPr/>
        </p:nvGrpSpPr>
        <p:grpSpPr>
          <a:xfrm>
            <a:off x="873232" y="5143424"/>
            <a:ext cx="1673535" cy="1143411"/>
            <a:chOff x="873232" y="5143424"/>
            <a:chExt cx="1673535" cy="1143411"/>
          </a:xfrm>
        </p:grpSpPr>
        <p:sp>
          <p:nvSpPr>
            <p:cNvPr id="974" name="Google Shape;974;p15"/>
            <p:cNvSpPr/>
            <p:nvPr/>
          </p:nvSpPr>
          <p:spPr>
            <a:xfrm>
              <a:off x="873232" y="5143424"/>
              <a:ext cx="1673535" cy="114341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5" name="Google Shape;975;p15"/>
            <p:cNvPicPr preferRelativeResize="0"/>
            <p:nvPr/>
          </p:nvPicPr>
          <p:blipFill rotWithShape="1">
            <a:blip r:embed="rId6">
              <a:alphaModFix/>
            </a:blip>
            <a:srcRect r="4694"/>
            <a:stretch/>
          </p:blipFill>
          <p:spPr>
            <a:xfrm>
              <a:off x="953725" y="5229129"/>
              <a:ext cx="1512548" cy="97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6" name="Google Shape;976;p15"/>
            <p:cNvSpPr/>
            <p:nvPr/>
          </p:nvSpPr>
          <p:spPr>
            <a:xfrm>
              <a:off x="1293425" y="5223267"/>
              <a:ext cx="280170" cy="212572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7" name="Google Shape;977;p15"/>
            <p:cNvSpPr/>
            <p:nvPr/>
          </p:nvSpPr>
          <p:spPr>
            <a:xfrm>
              <a:off x="988399" y="5396588"/>
              <a:ext cx="252000" cy="432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8" name="Google Shape;978;p15"/>
            <p:cNvSpPr/>
            <p:nvPr/>
          </p:nvSpPr>
          <p:spPr>
            <a:xfrm>
              <a:off x="990967" y="5952963"/>
              <a:ext cx="216000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" name="Google Shape;984;p16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Approach</a:t>
            </a:r>
          </a:p>
        </p:txBody>
      </p:sp>
      <p:sp>
        <p:nvSpPr>
          <p:cNvPr id="985" name="Google Shape;985;p1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Change icon colour</a:t>
            </a:r>
          </a:p>
        </p:txBody>
      </p:sp>
      <p:sp>
        <p:nvSpPr>
          <p:cNvPr id="986" name="Google Shape;986;p16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Notes</a:t>
            </a:r>
          </a:p>
        </p:txBody>
      </p:sp>
      <p:sp>
        <p:nvSpPr>
          <p:cNvPr id="987" name="Google Shape;987;p16"/>
          <p:cNvSpPr txBox="1">
            <a:spLocks noGrp="1"/>
          </p:cNvSpPr>
          <p:nvPr>
            <p:ph type="body" idx="1"/>
          </p:nvPr>
        </p:nvSpPr>
        <p:spPr>
          <a:xfrm>
            <a:off x="432000" y="2160585"/>
            <a:ext cx="5447999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34290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Select icon</a:t>
            </a:r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In the tab «Graphics Format» under «Graphics Styles», use </a:t>
            </a:r>
            <a:r>
              <a:rPr lang="en-US" b="1" noProof="1"/>
              <a:t>«Graphics Fill»</a:t>
            </a:r>
            <a:r>
              <a:rPr lang="en-US" noProof="1"/>
              <a:t> to change the colour</a:t>
            </a:r>
          </a:p>
        </p:txBody>
      </p:sp>
      <p:sp>
        <p:nvSpPr>
          <p:cNvPr id="988" name="Google Shape;988;p16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270000" lvl="0" indent="-2700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For some icons, the colour </a:t>
            </a:r>
            <a:br>
              <a:rPr lang="en-US" noProof="1"/>
            </a:br>
            <a:r>
              <a:rPr lang="en-US" noProof="1"/>
              <a:t>can be changed by using </a:t>
            </a:r>
            <a:br>
              <a:rPr lang="en-US" noProof="1"/>
            </a:br>
            <a:r>
              <a:rPr lang="en-US" b="1" noProof="1"/>
              <a:t>«Graphics Outline»</a:t>
            </a:r>
            <a:r>
              <a:rPr lang="en-US" noProof="1"/>
              <a:t> instead </a:t>
            </a:r>
            <a:br>
              <a:rPr lang="en-US" noProof="1"/>
            </a:br>
            <a:r>
              <a:rPr lang="en-US" noProof="1"/>
              <a:t>of «Graphics Fill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The colour cannot be changed </a:t>
            </a:r>
            <a:br>
              <a:rPr lang="en-US" noProof="1"/>
            </a:br>
            <a:r>
              <a:rPr lang="en-US" noProof="1"/>
              <a:t>if an icon is inserted as a picture. </a:t>
            </a:r>
            <a:br>
              <a:rPr lang="en-US" noProof="1"/>
            </a:br>
            <a:r>
              <a:rPr lang="en-US" noProof="1"/>
              <a:t>In this case, after selecting the </a:t>
            </a:r>
            <a:br>
              <a:rPr lang="en-US" noProof="1"/>
            </a:br>
            <a:r>
              <a:rPr lang="en-US" noProof="1"/>
              <a:t>icon, the tab </a:t>
            </a:r>
            <a:r>
              <a:rPr lang="en-US" b="1" noProof="1"/>
              <a:t>«Picture Format»</a:t>
            </a:r>
            <a:r>
              <a:rPr lang="en-US" noProof="1"/>
              <a:t> </a:t>
            </a:r>
            <a:br>
              <a:rPr lang="en-US" noProof="1"/>
            </a:br>
            <a:r>
              <a:rPr lang="en-US" noProof="1"/>
              <a:t>appears instead of «Graphics Format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Best vector file format for icons: *.svg</a:t>
            </a:r>
          </a:p>
        </p:txBody>
      </p:sp>
      <p:grpSp>
        <p:nvGrpSpPr>
          <p:cNvPr id="989" name="Google Shape;989;p16"/>
          <p:cNvGrpSpPr/>
          <p:nvPr/>
        </p:nvGrpSpPr>
        <p:grpSpPr>
          <a:xfrm>
            <a:off x="743340" y="3919114"/>
            <a:ext cx="4825319" cy="1656000"/>
            <a:chOff x="743340" y="3919114"/>
            <a:chExt cx="4825319" cy="1656000"/>
          </a:xfrm>
        </p:grpSpPr>
        <p:sp>
          <p:nvSpPr>
            <p:cNvPr id="990" name="Google Shape;990;p16"/>
            <p:cNvSpPr/>
            <p:nvPr/>
          </p:nvSpPr>
          <p:spPr>
            <a:xfrm>
              <a:off x="743340" y="3919114"/>
              <a:ext cx="4825319" cy="1656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1" name="Google Shape;991;p16"/>
            <p:cNvPicPr preferRelativeResize="0"/>
            <p:nvPr/>
          </p:nvPicPr>
          <p:blipFill rotWithShape="1">
            <a:blip r:embed="rId3">
              <a:alphaModFix/>
            </a:blip>
            <a:srcRect l="1003" r="47551"/>
            <a:stretch/>
          </p:blipFill>
          <p:spPr>
            <a:xfrm>
              <a:off x="855478" y="4027114"/>
              <a:ext cx="3171297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2" name="Google Shape;992;p16"/>
            <p:cNvSpPr/>
            <p:nvPr/>
          </p:nvSpPr>
          <p:spPr>
            <a:xfrm>
              <a:off x="2790304" y="4327889"/>
              <a:ext cx="1044000" cy="278607"/>
            </a:xfrm>
            <a:prstGeom prst="rect">
              <a:avLst/>
            </a:prstGeom>
            <a:solidFill>
              <a:schemeClr val="dk2">
                <a:alpha val="14901"/>
              </a:schemeClr>
            </a:solidFill>
            <a:ln w="28575" cap="rnd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3" name="Google Shape;993;p16"/>
            <p:cNvSpPr/>
            <p:nvPr/>
          </p:nvSpPr>
          <p:spPr>
            <a:xfrm>
              <a:off x="879477" y="5088468"/>
              <a:ext cx="914400" cy="216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4" name="Google Shape;994;p16"/>
            <p:cNvPicPr preferRelativeResize="0"/>
            <p:nvPr/>
          </p:nvPicPr>
          <p:blipFill rotWithShape="1">
            <a:blip r:embed="rId3">
              <a:alphaModFix/>
            </a:blip>
            <a:srcRect l="78710"/>
            <a:stretch/>
          </p:blipFill>
          <p:spPr>
            <a:xfrm>
              <a:off x="4142949" y="4027114"/>
              <a:ext cx="1312413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5" name="Google Shape;995;p16"/>
            <p:cNvSpPr/>
            <p:nvPr/>
          </p:nvSpPr>
          <p:spPr>
            <a:xfrm>
              <a:off x="4218062" y="4060782"/>
              <a:ext cx="1162593" cy="299036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96" name="Google Shape;996;p16"/>
          <p:cNvGrpSpPr/>
          <p:nvPr/>
        </p:nvGrpSpPr>
        <p:grpSpPr>
          <a:xfrm>
            <a:off x="10008660" y="2468488"/>
            <a:ext cx="1440000" cy="792000"/>
            <a:chOff x="9935570" y="2429999"/>
            <a:chExt cx="1440000" cy="792000"/>
          </a:xfrm>
        </p:grpSpPr>
        <p:sp>
          <p:nvSpPr>
            <p:cNvPr id="997" name="Google Shape;997;p16"/>
            <p:cNvSpPr/>
            <p:nvPr/>
          </p:nvSpPr>
          <p:spPr>
            <a:xfrm>
              <a:off x="9935570" y="2429999"/>
              <a:ext cx="1440000" cy="79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8" name="Google Shape;998;p16"/>
            <p:cNvPicPr preferRelativeResize="0"/>
            <p:nvPr/>
          </p:nvPicPr>
          <p:blipFill rotWithShape="1">
            <a:blip r:embed="rId3">
              <a:alphaModFix/>
            </a:blip>
            <a:srcRect l="32044" t="20073" r="46617" b="36909"/>
            <a:stretch/>
          </p:blipFill>
          <p:spPr>
            <a:xfrm>
              <a:off x="10043570" y="2537800"/>
              <a:ext cx="1224000" cy="57639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9" name="Google Shape;999;p16"/>
            <p:cNvSpPr/>
            <p:nvPr/>
          </p:nvSpPr>
          <p:spPr>
            <a:xfrm>
              <a:off x="10056358" y="2750912"/>
              <a:ext cx="1188000" cy="252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0" name="Google Shape;1000;p16"/>
          <p:cNvGrpSpPr/>
          <p:nvPr/>
        </p:nvGrpSpPr>
        <p:grpSpPr>
          <a:xfrm>
            <a:off x="10224660" y="4120516"/>
            <a:ext cx="1224000" cy="540000"/>
            <a:chOff x="10224660" y="4130348"/>
            <a:chExt cx="1224000" cy="540000"/>
          </a:xfrm>
        </p:grpSpPr>
        <p:sp>
          <p:nvSpPr>
            <p:cNvPr id="1001" name="Google Shape;1001;p16"/>
            <p:cNvSpPr/>
            <p:nvPr/>
          </p:nvSpPr>
          <p:spPr>
            <a:xfrm>
              <a:off x="10224660" y="4130348"/>
              <a:ext cx="1224000" cy="54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2" name="Google Shape;1002;p1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0332660" y="4238348"/>
              <a:ext cx="1008000" cy="32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3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Introduction 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Functionality and UI in the Trello System</a:t>
            </a:r>
          </a:p>
          <a:p>
            <a:pPr marL="342900" indent="-342900"/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Q&amp;A</a:t>
            </a:r>
          </a:p>
        </p:txBody>
      </p:sp>
      <p:sp>
        <p:nvSpPr>
          <p:cNvPr id="215" name="Google Shape;215;p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Agenda</a:t>
            </a:r>
          </a:p>
        </p:txBody>
      </p:sp>
      <p:pic>
        <p:nvPicPr>
          <p:cNvPr id="216" name="Google Shape;216;p3" descr="Trello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1691" t="-12991" r="1691" b="-12991"/>
          <a:stretch/>
        </p:blipFill>
        <p:spPr>
          <a:xfrm>
            <a:off x="5662625" y="878175"/>
            <a:ext cx="6096000" cy="57599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17"/>
          <p:cNvSpPr/>
          <p:nvPr/>
        </p:nvSpPr>
        <p:spPr>
          <a:xfrm>
            <a:off x="431999" y="3921125"/>
            <a:ext cx="5968799" cy="25066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09" name="Google Shape;1009;p17"/>
          <p:cNvGrpSpPr/>
          <p:nvPr/>
        </p:nvGrpSpPr>
        <p:grpSpPr>
          <a:xfrm>
            <a:off x="3525621" y="4914289"/>
            <a:ext cx="2160433" cy="1319022"/>
            <a:chOff x="2111317" y="4657623"/>
            <a:chExt cx="2160433" cy="1329497"/>
          </a:xfrm>
        </p:grpSpPr>
        <p:pic>
          <p:nvPicPr>
            <p:cNvPr id="1010" name="Google Shape;1010;p17"/>
            <p:cNvPicPr preferRelativeResize="0"/>
            <p:nvPr/>
          </p:nvPicPr>
          <p:blipFill rotWithShape="1">
            <a:blip r:embed="rId3">
              <a:alphaModFix/>
            </a:blip>
            <a:srcRect l="29896" t="5647" r="14924" b="3337"/>
            <a:stretch/>
          </p:blipFill>
          <p:spPr>
            <a:xfrm>
              <a:off x="2111319" y="4657623"/>
              <a:ext cx="2160431" cy="1329496"/>
            </a:xfrm>
            <a:prstGeom prst="rect">
              <a:avLst/>
            </a:prstGeom>
            <a:noFill/>
            <a:ln>
              <a:noFill/>
            </a:ln>
            <a:effectLst>
              <a:outerShdw blurRad="177800" dist="101600" dir="2700000" algn="tl" rotWithShape="0">
                <a:srgbClr val="000000">
                  <a:alpha val="21960"/>
                </a:srgbClr>
              </a:outerShdw>
            </a:effectLst>
          </p:spPr>
        </p:pic>
        <p:sp>
          <p:nvSpPr>
            <p:cNvPr id="1011" name="Google Shape;1011;p17"/>
            <p:cNvSpPr/>
            <p:nvPr/>
          </p:nvSpPr>
          <p:spPr>
            <a:xfrm>
              <a:off x="2111317" y="5866536"/>
              <a:ext cx="2160431" cy="120584"/>
            </a:xfrm>
            <a:prstGeom prst="rect">
              <a:avLst/>
            </a:prstGeom>
            <a:solidFill>
              <a:schemeClr val="dk1">
                <a:alpha val="7294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2" name="Google Shape;1012;p17"/>
          <p:cNvSpPr/>
          <p:nvPr/>
        </p:nvSpPr>
        <p:spPr>
          <a:xfrm>
            <a:off x="432000" y="1520825"/>
            <a:ext cx="5968798" cy="20767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13" name="Google Shape;1013;p17"/>
          <p:cNvPicPr preferRelativeResize="0"/>
          <p:nvPr/>
        </p:nvPicPr>
        <p:blipFill rotWithShape="1">
          <a:blip r:embed="rId3">
            <a:alphaModFix/>
          </a:blip>
          <a:srcRect l="40263" t="5647" r="9027" b="3337"/>
          <a:stretch/>
        </p:blipFill>
        <p:spPr>
          <a:xfrm>
            <a:off x="628751" y="1753505"/>
            <a:ext cx="2462840" cy="164916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sp>
        <p:nvSpPr>
          <p:cNvPr id="1014" name="Google Shape;1014;p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placeholder</a:t>
            </a:r>
          </a:p>
        </p:txBody>
      </p:sp>
      <p:sp>
        <p:nvSpPr>
          <p:cNvPr id="1015" name="Google Shape;1015;p17"/>
          <p:cNvSpPr txBox="1"/>
          <p:nvPr/>
        </p:nvSpPr>
        <p:spPr>
          <a:xfrm>
            <a:off x="7133216" y="1520825"/>
            <a:ext cx="4628572" cy="2146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78FB0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image from external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the image            icon, select image from Sharepoint or other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bbv image library is here locally located: </a:t>
            </a:r>
            <a:r>
              <a:rPr lang="en-US" sz="1400" b="0" i="1" u="sng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:\Users\Public\bbv_templates\Marketing\PPT-Bibliotheken\Bilder-Bibliothek</a:t>
            </a:r>
            <a:endParaRPr lang="en-US" sz="1400" b="0" i="1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: copy image from external source with Ctrl+C, select the placeholder, then paste with Ctrl+V</a:t>
            </a:r>
          </a:p>
        </p:txBody>
      </p:sp>
      <p:sp>
        <p:nvSpPr>
          <p:cNvPr id="1016" name="Google Shape;1016;p17"/>
          <p:cNvSpPr txBox="1"/>
          <p:nvPr/>
        </p:nvSpPr>
        <p:spPr>
          <a:xfrm>
            <a:off x="7135996" y="3921125"/>
            <a:ext cx="4625792" cy="2198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Picture Format» on «Crop»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the image composition by moving the image 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size the image by clicking and dragging the outer circles.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again on «Crop» to finish the adjustments</a:t>
            </a:r>
            <a:endParaRPr lang="en-US" noProof="1"/>
          </a:p>
        </p:txBody>
      </p:sp>
      <p:cxnSp>
        <p:nvCxnSpPr>
          <p:cNvPr id="1017" name="Google Shape;1017;p17"/>
          <p:cNvCxnSpPr/>
          <p:nvPr/>
        </p:nvCxnSpPr>
        <p:spPr>
          <a:xfrm>
            <a:off x="3018503" y="4570185"/>
            <a:ext cx="3195665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18" name="Google Shape;1018;p17"/>
          <p:cNvSpPr/>
          <p:nvPr/>
        </p:nvSpPr>
        <p:spPr>
          <a:xfrm>
            <a:off x="5585161" y="6093205"/>
            <a:ext cx="221875" cy="221875"/>
          </a:xfrm>
          <a:prstGeom prst="ellipse">
            <a:avLst/>
          </a:prstGeom>
          <a:solidFill>
            <a:schemeClr val="accent6">
              <a:alpha val="20000"/>
            </a:schemeClr>
          </a:solidFill>
          <a:ln w="28575" cap="rnd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" name="Google Shape;1019;p17"/>
          <p:cNvGrpSpPr/>
          <p:nvPr/>
        </p:nvGrpSpPr>
        <p:grpSpPr>
          <a:xfrm>
            <a:off x="3525807" y="4912400"/>
            <a:ext cx="143313" cy="143313"/>
            <a:chOff x="4070350" y="4368475"/>
            <a:chExt cx="143313" cy="143313"/>
          </a:xfrm>
        </p:grpSpPr>
        <p:sp>
          <p:nvSpPr>
            <p:cNvPr id="1020" name="Google Shape;1020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1" name="Google Shape;1021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2" name="Google Shape;1022;p17"/>
          <p:cNvGrpSpPr/>
          <p:nvPr/>
        </p:nvGrpSpPr>
        <p:grpSpPr>
          <a:xfrm rot="5400000">
            <a:off x="5552787" y="4909457"/>
            <a:ext cx="143313" cy="143313"/>
            <a:chOff x="4070350" y="4368475"/>
            <a:chExt cx="143313" cy="143313"/>
          </a:xfrm>
        </p:grpSpPr>
        <p:sp>
          <p:nvSpPr>
            <p:cNvPr id="1023" name="Google Shape;1023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4" name="Google Shape;1024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5" name="Google Shape;1025;p17"/>
          <p:cNvGrpSpPr/>
          <p:nvPr/>
        </p:nvGrpSpPr>
        <p:grpSpPr>
          <a:xfrm rot="10800000">
            <a:off x="5552787" y="5985903"/>
            <a:ext cx="143313" cy="143313"/>
            <a:chOff x="4070350" y="4368475"/>
            <a:chExt cx="143313" cy="143313"/>
          </a:xfrm>
        </p:grpSpPr>
        <p:sp>
          <p:nvSpPr>
            <p:cNvPr id="1026" name="Google Shape;1026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7" name="Google Shape;1027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8" name="Google Shape;1028;p17"/>
          <p:cNvGrpSpPr/>
          <p:nvPr/>
        </p:nvGrpSpPr>
        <p:grpSpPr>
          <a:xfrm rot="-5400000">
            <a:off x="3525807" y="5985904"/>
            <a:ext cx="143313" cy="143313"/>
            <a:chOff x="4070350" y="4368475"/>
            <a:chExt cx="143313" cy="143313"/>
          </a:xfrm>
        </p:grpSpPr>
        <p:sp>
          <p:nvSpPr>
            <p:cNvPr id="1029" name="Google Shape;1029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0" name="Google Shape;1030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1" name="Google Shape;1031;p17"/>
          <p:cNvSpPr/>
          <p:nvPr/>
        </p:nvSpPr>
        <p:spPr>
          <a:xfrm>
            <a:off x="4538503" y="4918908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2" name="Google Shape;1032;p17"/>
          <p:cNvSpPr/>
          <p:nvPr/>
        </p:nvSpPr>
        <p:spPr>
          <a:xfrm>
            <a:off x="4532240" y="6091591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3" name="Google Shape;1033;p17"/>
          <p:cNvSpPr/>
          <p:nvPr/>
        </p:nvSpPr>
        <p:spPr>
          <a:xfrm>
            <a:off x="3480982" y="6186373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4" name="Google Shape;1034;p17"/>
          <p:cNvSpPr/>
          <p:nvPr/>
        </p:nvSpPr>
        <p:spPr>
          <a:xfrm>
            <a:off x="3486957" y="4880360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5" name="Google Shape;1035;p17"/>
          <p:cNvSpPr/>
          <p:nvPr/>
        </p:nvSpPr>
        <p:spPr>
          <a:xfrm>
            <a:off x="5666615" y="4861688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" name="Google Shape;1036;p17"/>
          <p:cNvSpPr/>
          <p:nvPr/>
        </p:nvSpPr>
        <p:spPr>
          <a:xfrm>
            <a:off x="4562837" y="487475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7"/>
          <p:cNvSpPr/>
          <p:nvPr/>
        </p:nvSpPr>
        <p:spPr>
          <a:xfrm>
            <a:off x="4569135" y="6186819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8" name="Google Shape;1038;p17"/>
          <p:cNvSpPr/>
          <p:nvPr/>
        </p:nvSpPr>
        <p:spPr>
          <a:xfrm>
            <a:off x="5663549" y="616776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9" name="Google Shape;1039;p17"/>
          <p:cNvSpPr/>
          <p:nvPr/>
        </p:nvSpPr>
        <p:spPr>
          <a:xfrm rot="5400000">
            <a:off x="5605433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0" name="Google Shape;1040;p17"/>
          <p:cNvSpPr/>
          <p:nvPr/>
        </p:nvSpPr>
        <p:spPr>
          <a:xfrm rot="5400000">
            <a:off x="3470246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41" name="Google Shape;1041;p17"/>
          <p:cNvGrpSpPr/>
          <p:nvPr/>
        </p:nvGrpSpPr>
        <p:grpSpPr>
          <a:xfrm>
            <a:off x="4478309" y="5060654"/>
            <a:ext cx="248149" cy="248149"/>
            <a:chOff x="5640408" y="2973408"/>
            <a:chExt cx="1212768" cy="1212768"/>
          </a:xfrm>
        </p:grpSpPr>
        <p:grpSp>
          <p:nvGrpSpPr>
            <p:cNvPr id="1042" name="Google Shape;1042;p17"/>
            <p:cNvGrpSpPr/>
            <p:nvPr/>
          </p:nvGrpSpPr>
          <p:grpSpPr>
            <a:xfrm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3" name="Google Shape;1043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4" name="Google Shape;1044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045" name="Google Shape;1045;p17"/>
            <p:cNvGrpSpPr/>
            <p:nvPr/>
          </p:nvGrpSpPr>
          <p:grpSpPr>
            <a:xfrm rot="5400000"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6" name="Google Shape;1046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7" name="Google Shape;1047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048" name="Google Shape;1048;p17"/>
          <p:cNvGrpSpPr/>
          <p:nvPr/>
        </p:nvGrpSpPr>
        <p:grpSpPr>
          <a:xfrm>
            <a:off x="628751" y="4120185"/>
            <a:ext cx="2268000" cy="900000"/>
            <a:chOff x="628751" y="4086226"/>
            <a:chExt cx="2268000" cy="900000"/>
          </a:xfrm>
        </p:grpSpPr>
        <p:sp>
          <p:nvSpPr>
            <p:cNvPr id="1049" name="Google Shape;1049;p17"/>
            <p:cNvSpPr/>
            <p:nvPr/>
          </p:nvSpPr>
          <p:spPr>
            <a:xfrm flipH="1">
              <a:off x="628751" y="4086226"/>
              <a:ext cx="2268000" cy="900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0" name="Google Shape;1050;p17"/>
            <p:cNvPicPr preferRelativeResize="0"/>
            <p:nvPr/>
          </p:nvPicPr>
          <p:blipFill rotWithShape="1">
            <a:blip r:embed="rId6">
              <a:alphaModFix/>
            </a:blip>
            <a:srcRect r="81380"/>
            <a:stretch/>
          </p:blipFill>
          <p:spPr>
            <a:xfrm>
              <a:off x="699133" y="4158226"/>
              <a:ext cx="1066921" cy="756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51" name="Google Shape;1051;p17"/>
            <p:cNvPicPr preferRelativeResize="0"/>
            <p:nvPr/>
          </p:nvPicPr>
          <p:blipFill rotWithShape="1">
            <a:blip r:embed="rId6">
              <a:alphaModFix/>
            </a:blip>
            <a:srcRect l="82864"/>
            <a:stretch/>
          </p:blipFill>
          <p:spPr>
            <a:xfrm>
              <a:off x="1838051" y="4158226"/>
              <a:ext cx="981905" cy="756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52" name="Google Shape;1052;p17"/>
            <p:cNvSpPr/>
            <p:nvPr/>
          </p:nvSpPr>
          <p:spPr>
            <a:xfrm>
              <a:off x="895612" y="4161992"/>
              <a:ext cx="684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" name="Google Shape;1053;p17"/>
            <p:cNvSpPr/>
            <p:nvPr/>
          </p:nvSpPr>
          <p:spPr>
            <a:xfrm>
              <a:off x="2318368" y="4332225"/>
              <a:ext cx="288000" cy="468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54" name="Google Shape;1054;p17"/>
          <p:cNvGrpSpPr/>
          <p:nvPr/>
        </p:nvGrpSpPr>
        <p:grpSpPr>
          <a:xfrm>
            <a:off x="6597549" y="1520825"/>
            <a:ext cx="197613" cy="2076725"/>
            <a:chOff x="6597549" y="1520825"/>
            <a:chExt cx="197613" cy="2076725"/>
          </a:xfrm>
        </p:grpSpPr>
        <p:cxnSp>
          <p:nvCxnSpPr>
            <p:cNvPr id="1055" name="Google Shape;1055;p17"/>
            <p:cNvCxnSpPr/>
            <p:nvPr/>
          </p:nvCxnSpPr>
          <p:spPr>
            <a:xfrm>
              <a:off x="6597549" y="2559187"/>
              <a:ext cx="197613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056" name="Google Shape;1056;p17"/>
            <p:cNvCxnSpPr/>
            <p:nvPr/>
          </p:nvCxnSpPr>
          <p:spPr>
            <a:xfrm>
              <a:off x="6597549" y="1520825"/>
              <a:ext cx="0" cy="207672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cxnSp>
        <p:nvCxnSpPr>
          <p:cNvPr id="1057" name="Google Shape;1057;p17"/>
          <p:cNvCxnSpPr/>
          <p:nvPr/>
        </p:nvCxnSpPr>
        <p:spPr>
          <a:xfrm>
            <a:off x="4919271" y="5222470"/>
            <a:ext cx="129489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58" name="Google Shape;1058;p17" descr="Cursor mit einfarbiger Füllung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581579" y="5159510"/>
            <a:ext cx="367089" cy="36708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9" name="Google Shape;1059;p17"/>
          <p:cNvCxnSpPr/>
          <p:nvPr/>
        </p:nvCxnSpPr>
        <p:spPr>
          <a:xfrm>
            <a:off x="5860347" y="6204204"/>
            <a:ext cx="353821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60" name="Google Shape;1060;p17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288342" y="1756560"/>
            <a:ext cx="2925826" cy="164305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pic>
        <p:nvPicPr>
          <p:cNvPr id="1061" name="Google Shape;1061;p17"/>
          <p:cNvPicPr preferRelativeResize="0"/>
          <p:nvPr/>
        </p:nvPicPr>
        <p:blipFill rotWithShape="1">
          <a:blip r:embed="rId9">
            <a:alphaModFix/>
          </a:blip>
          <a:srcRect l="18215" r="18215"/>
          <a:stretch/>
        </p:blipFill>
        <p:spPr>
          <a:xfrm>
            <a:off x="4980229" y="2146294"/>
            <a:ext cx="404399" cy="294277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</p:pic>
      <p:pic>
        <p:nvPicPr>
          <p:cNvPr id="1062" name="Google Shape;1062;p17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880016" y="1752100"/>
            <a:ext cx="447566" cy="34428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63" name="Google Shape;1063;p17"/>
          <p:cNvCxnSpPr/>
          <p:nvPr/>
        </p:nvCxnSpPr>
        <p:spPr>
          <a:xfrm>
            <a:off x="6214168" y="4740558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4" name="Google Shape;1064;p17"/>
          <p:cNvCxnSpPr/>
          <p:nvPr/>
        </p:nvCxnSpPr>
        <p:spPr>
          <a:xfrm rot="10800000">
            <a:off x="6214168" y="4570185"/>
            <a:ext cx="0" cy="170373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5" name="Google Shape;1065;p17"/>
          <p:cNvCxnSpPr/>
          <p:nvPr/>
        </p:nvCxnSpPr>
        <p:spPr>
          <a:xfrm>
            <a:off x="6214168" y="5087702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6" name="Google Shape;1066;p17"/>
          <p:cNvCxnSpPr/>
          <p:nvPr/>
        </p:nvCxnSpPr>
        <p:spPr>
          <a:xfrm rot="10800000">
            <a:off x="6214168" y="5087702"/>
            <a:ext cx="0" cy="13476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7" name="Google Shape;1067;p17"/>
          <p:cNvCxnSpPr/>
          <p:nvPr/>
        </p:nvCxnSpPr>
        <p:spPr>
          <a:xfrm>
            <a:off x="6214168" y="5450499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8" name="Google Shape;1068;p17"/>
          <p:cNvCxnSpPr/>
          <p:nvPr/>
        </p:nvCxnSpPr>
        <p:spPr>
          <a:xfrm rot="10800000">
            <a:off x="6214168" y="5450499"/>
            <a:ext cx="0" cy="753705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4" name="Google Shape;1074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504266" y="2448728"/>
            <a:ext cx="2257522" cy="864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pic>
        <p:nvPicPr>
          <p:cNvPr id="1075" name="Google Shape;1075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880518" y="1533833"/>
            <a:ext cx="1881270" cy="720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076" name="Google Shape;1076;p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mock-up screen (mobile/laptop)</a:t>
            </a:r>
          </a:p>
        </p:txBody>
      </p:sp>
      <p:cxnSp>
        <p:nvCxnSpPr>
          <p:cNvPr id="1077" name="Google Shape;1077;p18"/>
          <p:cNvCxnSpPr/>
          <p:nvPr/>
        </p:nvCxnSpPr>
        <p:spPr>
          <a:xfrm rot="10800000">
            <a:off x="5291999" y="234844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8" name="Google Shape;1078;p18"/>
          <p:cNvCxnSpPr/>
          <p:nvPr/>
        </p:nvCxnSpPr>
        <p:spPr>
          <a:xfrm rot="10800000">
            <a:off x="5291999" y="341648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9" name="Google Shape;1079;p18"/>
          <p:cNvCxnSpPr/>
          <p:nvPr/>
        </p:nvCxnSpPr>
        <p:spPr>
          <a:xfrm rot="10800000">
            <a:off x="5291999" y="4980217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80" name="Google Shape;1080;p18"/>
          <p:cNvSpPr/>
          <p:nvPr/>
        </p:nvSpPr>
        <p:spPr>
          <a:xfrm>
            <a:off x="5328000" y="1616850"/>
            <a:ext cx="416967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aste image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image from external source with Ctrl+C and paste with Ctrl+V</a:t>
            </a:r>
          </a:p>
        </p:txBody>
      </p:sp>
      <p:sp>
        <p:nvSpPr>
          <p:cNvPr id="1081" name="Google Shape;1081;p18"/>
          <p:cNvSpPr/>
          <p:nvPr/>
        </p:nvSpPr>
        <p:spPr>
          <a:xfrm>
            <a:off x="5328000" y="2448728"/>
            <a:ext cx="4169679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ize &amp; determine image area: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image size and determine image area</a:t>
            </a:r>
            <a:endParaRPr lang="en-US" noProof="1"/>
          </a:p>
        </p:txBody>
      </p:sp>
      <p:sp>
        <p:nvSpPr>
          <p:cNvPr id="1082" name="Google Shape;1082;p18"/>
          <p:cNvSpPr/>
          <p:nvPr/>
        </p:nvSpPr>
        <p:spPr>
          <a:xfrm>
            <a:off x="5328000" y="3529683"/>
            <a:ext cx="2808000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rop image to image mask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Shape Format / </a:t>
            </a:r>
            <a:b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rge Shapes» on «Intersect»</a:t>
            </a:r>
            <a:endParaRPr lang="en-US" noProof="1"/>
          </a:p>
        </p:txBody>
      </p:sp>
      <p:sp>
        <p:nvSpPr>
          <p:cNvPr id="1083" name="Google Shape;1083;p18"/>
          <p:cNvSpPr/>
          <p:nvPr/>
        </p:nvSpPr>
        <p:spPr>
          <a:xfrm>
            <a:off x="5328000" y="5095788"/>
            <a:ext cx="3276000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bine image with mock-up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mock-up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ate image and mock-up and align both horizontally (Align Center) and vertically (Align Middle)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roup image and mock-up with Ctrl+G</a:t>
            </a:r>
          </a:p>
        </p:txBody>
      </p:sp>
      <p:sp>
        <p:nvSpPr>
          <p:cNvPr id="1084" name="Google Shape;1084;p18"/>
          <p:cNvSpPr/>
          <p:nvPr/>
        </p:nvSpPr>
        <p:spPr>
          <a:xfrm>
            <a:off x="10443538" y="2486085"/>
            <a:ext cx="370891" cy="792000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0" tIns="95875" rIns="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r>
              <a:rPr lang="en-US" sz="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sp>
        <p:nvSpPr>
          <p:cNvPr id="1085" name="Google Shape;1085;p18"/>
          <p:cNvSpPr/>
          <p:nvPr/>
        </p:nvSpPr>
        <p:spPr>
          <a:xfrm>
            <a:off x="645891" y="1901419"/>
            <a:ext cx="1106662" cy="2373969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143800" tIns="95875" rIns="14380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US" sz="14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pic>
        <p:nvPicPr>
          <p:cNvPr id="1086" name="Google Shape;1086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31999" y="1533833"/>
            <a:ext cx="1198365" cy="242650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87" name="Google Shape;1087;p18"/>
          <p:cNvGrpSpPr/>
          <p:nvPr/>
        </p:nvGrpSpPr>
        <p:grpSpPr>
          <a:xfrm>
            <a:off x="11103958" y="5082272"/>
            <a:ext cx="657830" cy="1332000"/>
            <a:chOff x="4126180" y="387649"/>
            <a:chExt cx="2056248" cy="4163583"/>
          </a:xfrm>
        </p:grpSpPr>
        <p:pic>
          <p:nvPicPr>
            <p:cNvPr id="1088" name="Google Shape;1088;p18"/>
            <p:cNvPicPr preferRelativeResize="0"/>
            <p:nvPr/>
          </p:nvPicPr>
          <p:blipFill rotWithShape="1">
            <a:blip r:embed="rId3">
              <a:alphaModFix/>
            </a:blip>
            <a:srcRect l="42680" t="4272" r="41574" b="5574"/>
            <a:stretch/>
          </p:blipFill>
          <p:spPr>
            <a:xfrm>
              <a:off x="4220185" y="462052"/>
              <a:ext cx="1868241" cy="4014777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</p:pic>
        <p:pic>
          <p:nvPicPr>
            <p:cNvPr id="1089" name="Google Shape;1089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126180" y="387649"/>
              <a:ext cx="2056248" cy="4163583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90" name="Google Shape;1090;p18"/>
          <p:cNvPicPr preferRelativeResize="0"/>
          <p:nvPr/>
        </p:nvPicPr>
        <p:blipFill rotWithShape="1">
          <a:blip r:embed="rId3">
            <a:alphaModFix/>
          </a:blip>
          <a:srcRect l="42680" t="4272" r="41574" b="5574"/>
          <a:stretch/>
        </p:blipFill>
        <p:spPr>
          <a:xfrm>
            <a:off x="11141953" y="3534075"/>
            <a:ext cx="619835" cy="13320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cxnSp>
        <p:nvCxnSpPr>
          <p:cNvPr id="1091" name="Google Shape;1091;p18"/>
          <p:cNvCxnSpPr/>
          <p:nvPr/>
        </p:nvCxnSpPr>
        <p:spPr>
          <a:xfrm>
            <a:off x="1630364" y="1747178"/>
            <a:ext cx="34611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sp>
        <p:nvSpPr>
          <p:cNvPr id="1092" name="Google Shape;1092;p18"/>
          <p:cNvSpPr txBox="1"/>
          <p:nvPr/>
        </p:nvSpPr>
        <p:spPr>
          <a:xfrm>
            <a:off x="1976474" y="1593290"/>
            <a:ext cx="9000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ck-up</a:t>
            </a:r>
            <a:endParaRPr lang="en-US" sz="1400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93" name="Google Shape;1093;p18"/>
          <p:cNvGrpSpPr/>
          <p:nvPr/>
        </p:nvGrpSpPr>
        <p:grpSpPr>
          <a:xfrm>
            <a:off x="2532954" y="2348442"/>
            <a:ext cx="2014645" cy="4079346"/>
            <a:chOff x="3124086" y="2147025"/>
            <a:chExt cx="2124148" cy="4301072"/>
          </a:xfrm>
        </p:grpSpPr>
        <p:pic>
          <p:nvPicPr>
            <p:cNvPr id="1094" name="Google Shape;1094;p18"/>
            <p:cNvPicPr preferRelativeResize="0"/>
            <p:nvPr/>
          </p:nvPicPr>
          <p:blipFill rotWithShape="1">
            <a:blip r:embed="rId3">
              <a:alphaModFix/>
            </a:blip>
            <a:srcRect l="41395" t="925" r="41381" b="545"/>
            <a:stretch/>
          </p:blipFill>
          <p:spPr>
            <a:xfrm>
              <a:off x="3205360" y="2193586"/>
              <a:ext cx="1961601" cy="4207952"/>
            </a:xfrm>
            <a:custGeom>
              <a:avLst/>
              <a:gdLst/>
              <a:ahLst/>
              <a:cxnLst/>
              <a:rect l="l" t="t" r="r" b="b"/>
              <a:pathLst>
                <a:path w="1961601" h="4207952" extrusionOk="0">
                  <a:moveTo>
                    <a:pt x="326940" y="0"/>
                  </a:moveTo>
                  <a:lnTo>
                    <a:pt x="1634661" y="0"/>
                  </a:lnTo>
                  <a:cubicBezTo>
                    <a:pt x="1815225" y="0"/>
                    <a:pt x="1961601" y="146376"/>
                    <a:pt x="1961601" y="326940"/>
                  </a:cubicBezTo>
                  <a:lnTo>
                    <a:pt x="1961601" y="3881012"/>
                  </a:lnTo>
                  <a:cubicBezTo>
                    <a:pt x="1961601" y="4061576"/>
                    <a:pt x="1815225" y="4207952"/>
                    <a:pt x="1634661" y="4207952"/>
                  </a:cubicBezTo>
                  <a:lnTo>
                    <a:pt x="326940" y="4207952"/>
                  </a:lnTo>
                  <a:cubicBezTo>
                    <a:pt x="146376" y="4207952"/>
                    <a:pt x="0" y="4061576"/>
                    <a:pt x="0" y="3881012"/>
                  </a:cubicBezTo>
                  <a:lnTo>
                    <a:pt x="0" y="326940"/>
                  </a:lnTo>
                  <a:cubicBezTo>
                    <a:pt x="0" y="146376"/>
                    <a:pt x="146376" y="0"/>
                    <a:pt x="32694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  <p:pic>
          <p:nvPicPr>
            <p:cNvPr id="1095" name="Google Shape;1095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124086" y="2147025"/>
              <a:ext cx="2124148" cy="430107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96" name="Google Shape;1096;p18"/>
          <p:cNvGrpSpPr/>
          <p:nvPr/>
        </p:nvGrpSpPr>
        <p:grpSpPr>
          <a:xfrm>
            <a:off x="1199222" y="4392591"/>
            <a:ext cx="1140370" cy="622662"/>
            <a:chOff x="1199222" y="4392591"/>
            <a:chExt cx="1140370" cy="622662"/>
          </a:xfrm>
        </p:grpSpPr>
        <p:cxnSp>
          <p:nvCxnSpPr>
            <p:cNvPr id="1097" name="Google Shape;1097;p18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1098" name="Google Shape;1098;p18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099" name="Google Shape;1099;p18"/>
          <p:cNvGrpSpPr/>
          <p:nvPr/>
        </p:nvGrpSpPr>
        <p:grpSpPr>
          <a:xfrm>
            <a:off x="9094355" y="3529683"/>
            <a:ext cx="1872501" cy="1331619"/>
            <a:chOff x="9092844" y="3529683"/>
            <a:chExt cx="1872501" cy="1331619"/>
          </a:xfrm>
        </p:grpSpPr>
        <p:sp>
          <p:nvSpPr>
            <p:cNvPr id="1100" name="Google Shape;1100;p18"/>
            <p:cNvSpPr/>
            <p:nvPr/>
          </p:nvSpPr>
          <p:spPr>
            <a:xfrm flipH="1">
              <a:off x="9092844" y="3529683"/>
              <a:ext cx="1872501" cy="1331619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1" name="Google Shape;1101;p18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0162214" y="3617845"/>
              <a:ext cx="715035" cy="115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2" name="Google Shape;1102;p18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9178865" y="3617845"/>
              <a:ext cx="872000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3" name="Google Shape;1103;p18"/>
            <p:cNvSpPr/>
            <p:nvPr/>
          </p:nvSpPr>
          <p:spPr>
            <a:xfrm>
              <a:off x="10189485" y="4518391"/>
              <a:ext cx="553272" cy="173844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04" name="Google Shape;1104;p18"/>
          <p:cNvGrpSpPr/>
          <p:nvPr/>
        </p:nvGrpSpPr>
        <p:grpSpPr>
          <a:xfrm>
            <a:off x="8914856" y="5082272"/>
            <a:ext cx="2052000" cy="1332000"/>
            <a:chOff x="8914856" y="5082272"/>
            <a:chExt cx="2052000" cy="1332000"/>
          </a:xfrm>
        </p:grpSpPr>
        <p:sp>
          <p:nvSpPr>
            <p:cNvPr id="1105" name="Google Shape;1105;p18"/>
            <p:cNvSpPr/>
            <p:nvPr/>
          </p:nvSpPr>
          <p:spPr>
            <a:xfrm flipH="1">
              <a:off x="8914856" y="5082272"/>
              <a:ext cx="2052000" cy="1332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6" name="Google Shape;1106;p18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9000519" y="5172272"/>
              <a:ext cx="879999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7" name="Google Shape;1107;p18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9968777" y="5172272"/>
              <a:ext cx="909983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8" name="Google Shape;1108;p18"/>
            <p:cNvSpPr/>
            <p:nvPr/>
          </p:nvSpPr>
          <p:spPr>
            <a:xfrm>
              <a:off x="9971164" y="5175576"/>
              <a:ext cx="252000" cy="39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9" name="Google Shape;1109;p18"/>
            <p:cNvSpPr/>
            <p:nvPr/>
          </p:nvSpPr>
          <p:spPr>
            <a:xfrm>
              <a:off x="10014804" y="5670125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0" name="Google Shape;1110;p18"/>
            <p:cNvSpPr/>
            <p:nvPr/>
          </p:nvSpPr>
          <p:spPr>
            <a:xfrm>
              <a:off x="10014804" y="6089998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Google Shape;1116;p19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" name="Google Shape;1117;p1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1118" name="Google Shape;1118;p19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yle guide</a:t>
            </a:r>
            <a:endParaRPr lang="en-US" noProof="1"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" name="Google Shape;1124;p2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Working area, guides &amp; ruler</a:t>
            </a:r>
          </a:p>
        </p:txBody>
      </p:sp>
      <p:sp>
        <p:nvSpPr>
          <p:cNvPr id="1125" name="Google Shape;1125;p20"/>
          <p:cNvSpPr txBox="1"/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33"/>
              <a:buFont typeface="Arial"/>
              <a:buNone/>
            </a:pPr>
            <a:r>
              <a:rPr lang="en-US" sz="2133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orking area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pending on the slide, a single-column layout, a 2-column or 3-column layout is used.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isplay the ruler and guides in the «View» tab.</a:t>
            </a:r>
          </a:p>
        </p:txBody>
      </p:sp>
      <p:grpSp>
        <p:nvGrpSpPr>
          <p:cNvPr id="1126" name="Google Shape;1126;p20"/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1127" name="Google Shape;1127;p20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28" name="Google Shape;1128;p20"/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29" name="Google Shape;1129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0" name="Google Shape;1130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1" name="Google Shape;1131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2" name="Google Shape;1132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3" name="Google Shape;1133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4" name="Google Shape;1134;p20"/>
              <p:cNvCxnSpPr/>
              <p:nvPr/>
            </p:nvCxnSpPr>
            <p:spPr>
              <a:xfrm rot="10800000">
                <a:off x="235812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35" name="Google Shape;1135;p20"/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1136" name="Google Shape;1136;p2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37" name="Google Shape;1137;p20"/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38" name="Google Shape;1138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9" name="Google Shape;1139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0" name="Google Shape;1140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1" name="Google Shape;1141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2" name="Google Shape;1142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3" name="Google Shape;1143;p20"/>
              <p:cNvCxnSpPr/>
              <p:nvPr/>
            </p:nvCxnSpPr>
            <p:spPr>
              <a:xfrm rot="10800000">
                <a:off x="1814045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4" name="Google Shape;1144;p20"/>
              <p:cNvCxnSpPr/>
              <p:nvPr/>
            </p:nvCxnSpPr>
            <p:spPr>
              <a:xfrm rot="10800000">
                <a:off x="2969463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5" name="Google Shape;1145;p20"/>
              <p:cNvCxnSpPr/>
              <p:nvPr/>
            </p:nvCxnSpPr>
            <p:spPr>
              <a:xfrm rot="10800000">
                <a:off x="287507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6" name="Google Shape;1146;p20"/>
              <p:cNvCxnSpPr/>
              <p:nvPr/>
            </p:nvCxnSpPr>
            <p:spPr>
              <a:xfrm rot="10800000">
                <a:off x="1743261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47" name="Google Shape;1147;p20"/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1148" name="Google Shape;1148;p20"/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1000" sy="101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9" name="Google Shape;1149;p2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50" name="Google Shape;1150;p20"/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" name="Google Shape;1151;p20"/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" name="Google Shape;1152;p20"/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2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colour theme</a:t>
            </a:r>
          </a:p>
        </p:txBody>
      </p:sp>
      <p:cxnSp>
        <p:nvCxnSpPr>
          <p:cNvPr id="1159" name="Google Shape;1159;p21"/>
          <p:cNvCxnSpPr/>
          <p:nvPr/>
        </p:nvCxnSpPr>
        <p:spPr>
          <a:xfrm>
            <a:off x="4456762" y="2173030"/>
            <a:ext cx="0" cy="425475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160" name="Google Shape;1160;p21"/>
          <p:cNvSpPr txBox="1"/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in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cent</a:t>
            </a:r>
            <a:endParaRPr lang="en-US" noProof="1"/>
          </a:p>
        </p:txBody>
      </p:sp>
      <p:sp>
        <p:nvSpPr>
          <p:cNvPr id="1161" name="Google Shape;1161;p21"/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2" name="Google Shape;1162;p21"/>
          <p:cNvSpPr/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3" name="Google Shape;1163;p21"/>
          <p:cNvSpPr/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4" name="Google Shape;1164;p21"/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21"/>
          <p:cNvSpPr/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6" name="Google Shape;1166;p21"/>
          <p:cNvSpPr/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7" name="Google Shape;1167;p21"/>
          <p:cNvSpPr/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8" name="Google Shape;1168;p21"/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9" name="Google Shape;1169;p21"/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" name="Google Shape;1170;p21"/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lt2"/>
          </a:solidFill>
          <a:ln w="1077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71" name="Google Shape;1171;p21"/>
          <p:cNvGrpSpPr/>
          <p:nvPr/>
        </p:nvGrpSpPr>
        <p:grpSpPr>
          <a:xfrm>
            <a:off x="6869091" y="2885609"/>
            <a:ext cx="602764" cy="217375"/>
            <a:chOff x="4697470" y="3209373"/>
            <a:chExt cx="433615" cy="163031"/>
          </a:xfrm>
        </p:grpSpPr>
        <p:cxnSp>
          <p:nvCxnSpPr>
            <p:cNvPr id="1172" name="Google Shape;1172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73" name="Google Shape;1173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74" name="Google Shape;1174;p21"/>
          <p:cNvSpPr txBox="1"/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26714" sx="101000" sy="101000" algn="ctr" rotWithShape="0">
              <a:srgbClr val="000000">
                <a:alpha val="17647"/>
              </a:srgbClr>
            </a:outerShdw>
          </a:effectLst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2286000" marR="0" lvl="5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5" name="Google Shape;1175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7610" y="2406096"/>
            <a:ext cx="1966241" cy="14132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6" name="Google Shape;1176;p21"/>
          <p:cNvPicPr preferRelativeResize="0"/>
          <p:nvPr/>
        </p:nvPicPr>
        <p:blipFill rotWithShape="1">
          <a:blip r:embed="rId4">
            <a:alphaModFix/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7" name="Google Shape;1177;p21"/>
          <p:cNvPicPr preferRelativeResize="0"/>
          <p:nvPr/>
        </p:nvPicPr>
        <p:blipFill rotWithShape="1">
          <a:blip r:embed="rId4">
            <a:alphaModFix/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8" name="Google Shape;1178;p21"/>
          <p:cNvPicPr preferRelativeResize="0"/>
          <p:nvPr/>
        </p:nvPicPr>
        <p:blipFill rotWithShape="1">
          <a:blip r:embed="rId4">
            <a:alphaModFix/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79" name="Google Shape;1179;p21"/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1180" name="Google Shape;1180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81" name="Google Shape;1181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182" name="Google Shape;1182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183" name="Google Shape;1183;p21"/>
          <p:cNvSpPr txBox="1"/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lways OK!</a:t>
            </a:r>
            <a:endParaRPr lang="en-US" noProof="1"/>
          </a:p>
        </p:txBody>
      </p:sp>
      <p:sp>
        <p:nvSpPr>
          <p:cNvPr id="1184" name="Google Shape;1184;p21"/>
          <p:cNvSpPr txBox="1"/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sp>
        <p:nvSpPr>
          <p:cNvPr id="1185" name="Google Shape;1185;p21"/>
          <p:cNvSpPr txBox="1"/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rgbClr val="E30613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grpSp>
        <p:nvGrpSpPr>
          <p:cNvPr id="1186" name="Google Shape;1186;p21"/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1187" name="Google Shape;118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88" name="Google Shape;118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89" name="Google Shape;1189;p21"/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1190" name="Google Shape;1190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1" name="Google Shape;1191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92" name="Google Shape;1192;p21"/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1193" name="Google Shape;1193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4" name="Google Shape;1194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5" name="Google Shape;1195;p21"/>
          <p:cNvSpPr txBox="1"/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se selectively and sparingly</a:t>
            </a:r>
            <a:endParaRPr lang="en-US" noProof="1"/>
          </a:p>
        </p:txBody>
      </p:sp>
      <p:grpSp>
        <p:nvGrpSpPr>
          <p:cNvPr id="1196" name="Google Shape;1196;p21"/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197" name="Google Shape;119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8" name="Google Shape;119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9" name="Google Shape;1199;p21"/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0" name="Google Shape;1200;p21"/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1" name="Google Shape;1201;p21"/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2" name="Google Shape;1202;p21"/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3" name="Google Shape;1203;p21"/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4" name="Google Shape;1204;p21"/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" name="Google Shape;1205;p21"/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6" name="Google Shape;1206;p21"/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7" name="Google Shape;1207;p21"/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8" name="Google Shape;1208;p21"/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9" name="Google Shape;1209;p21"/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0" name="Google Shape;1210;p21"/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1" name="Google Shape;1211;p21"/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2" name="Google Shape;1212;p21"/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3" name="Google Shape;1213;p21"/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4" name="Google Shape;1214;p21"/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15" name="Google Shape;1215;p21"/>
          <p:cNvCxnSpPr/>
          <p:nvPr/>
        </p:nvCxnSpPr>
        <p:spPr>
          <a:xfrm>
            <a:off x="4761918" y="3930778"/>
            <a:ext cx="700145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1216" name="Google Shape;1216;p21"/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1217" name="Google Shape;1217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18" name="Google Shape;1218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219" name="Google Shape;1219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20" name="Google Shape;1220;p21"/>
          <p:cNvGrpSpPr/>
          <p:nvPr/>
        </p:nvGrpSpPr>
        <p:grpSpPr>
          <a:xfrm>
            <a:off x="4718719" y="2885609"/>
            <a:ext cx="1324291" cy="217375"/>
            <a:chOff x="4697470" y="3209373"/>
            <a:chExt cx="433615" cy="163031"/>
          </a:xfrm>
        </p:grpSpPr>
        <p:cxnSp>
          <p:nvCxnSpPr>
            <p:cNvPr id="1221" name="Google Shape;1221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2" name="Google Shape;1222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23" name="Google Shape;1223;p21"/>
          <p:cNvSpPr txBox="1"/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fault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lours</a:t>
            </a:r>
            <a:endParaRPr lang="en-US" noProof="1"/>
          </a:p>
        </p:txBody>
      </p:sp>
      <p:sp>
        <p:nvSpPr>
          <p:cNvPr id="1224" name="Google Shape;1224;p21"/>
          <p:cNvSpPr txBox="1"/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grpSp>
        <p:nvGrpSpPr>
          <p:cNvPr id="1225" name="Google Shape;1225;p21"/>
          <p:cNvGrpSpPr/>
          <p:nvPr/>
        </p:nvGrpSpPr>
        <p:grpSpPr>
          <a:xfrm>
            <a:off x="7589117" y="2885609"/>
            <a:ext cx="4159413" cy="217375"/>
            <a:chOff x="4697470" y="3209373"/>
            <a:chExt cx="433615" cy="163031"/>
          </a:xfrm>
        </p:grpSpPr>
        <p:cxnSp>
          <p:nvCxnSpPr>
            <p:cNvPr id="1226" name="Google Shape;1226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7" name="Google Shape;1227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228" name="Google Shape;1228;p21"/>
          <p:cNvGrpSpPr/>
          <p:nvPr/>
        </p:nvGrpSpPr>
        <p:grpSpPr>
          <a:xfrm>
            <a:off x="4718720" y="5661457"/>
            <a:ext cx="2770131" cy="217375"/>
            <a:chOff x="4697470" y="3209373"/>
            <a:chExt cx="433615" cy="163031"/>
          </a:xfrm>
        </p:grpSpPr>
        <p:cxnSp>
          <p:nvCxnSpPr>
            <p:cNvPr id="1229" name="Google Shape;1229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0" name="Google Shape;1230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1" name="Google Shape;1231;p21"/>
          <p:cNvSpPr txBox="1"/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sp>
        <p:nvSpPr>
          <p:cNvPr id="1232" name="Google Shape;1232;p21"/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3" name="Google Shape;1233;p21"/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4" name="Google Shape;1234;p21"/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5" name="Google Shape;1235;p21"/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36" name="Google Shape;1236;p21"/>
          <p:cNvGrpSpPr/>
          <p:nvPr/>
        </p:nvGrpSpPr>
        <p:grpSpPr>
          <a:xfrm>
            <a:off x="9015205" y="5661457"/>
            <a:ext cx="2770131" cy="217375"/>
            <a:chOff x="4697470" y="3209373"/>
            <a:chExt cx="433615" cy="163031"/>
          </a:xfrm>
        </p:grpSpPr>
        <p:cxnSp>
          <p:nvCxnSpPr>
            <p:cNvPr id="1237" name="Google Shape;1237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8" name="Google Shape;1238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9" name="Google Shape;1239;p21"/>
          <p:cNvSpPr txBox="1"/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</a:rPr>
              <a:t>Trello is a tool,</a:t>
            </a:r>
            <a:r>
              <a:rPr lang="en-US" dirty="0"/>
              <a:t> organize</a:t>
            </a:r>
            <a:r>
              <a:rPr lang="en-US" dirty="0">
                <a:solidFill>
                  <a:srgbClr val="333333"/>
                </a:solidFill>
              </a:rPr>
              <a:t> for managing projects, tasks </a:t>
            </a:r>
            <a:r>
              <a:rPr lang="en-US" dirty="0"/>
              <a:t>and track progress.</a:t>
            </a:r>
            <a:endParaRPr lang="en-US" dirty="0">
              <a:solidFill>
                <a:srgbClr val="333333"/>
              </a:solidFill>
            </a:endParaRPr>
          </a:p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a simple table or database</a:t>
            </a:r>
          </a:p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Let’s users: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Create board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Add cards to represent 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b="1" dirty="0"/>
              <a:t>Add checklists</a:t>
            </a:r>
            <a:r>
              <a:rPr lang="en-US" dirty="0"/>
              <a:t> to break tasks into sub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b="1" dirty="0"/>
              <a:t>Set due dates</a:t>
            </a:r>
            <a:r>
              <a:rPr lang="en-US" dirty="0"/>
              <a:t> to track deadline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hat is Trell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AB430B1-973C-6D58-DB50-11AC680610B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E126643-D82C-FD39-9305-BC75A12F0C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4200" y="1098000"/>
            <a:ext cx="6569079" cy="5265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927CAB0-B37D-52A6-4426-B2C2E84419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305154" y="1826883"/>
            <a:ext cx="4877419" cy="3204232"/>
          </a:xfrm>
        </p:spPr>
        <p:txBody>
          <a:bodyPr wrap="square" anchor="t">
            <a:normAutofit/>
          </a:bodyPr>
          <a:lstStyle/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Create boards</a:t>
            </a:r>
          </a:p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Add cards to represent tasks</a:t>
            </a:r>
          </a:p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Add checklists</a:t>
            </a:r>
            <a:r>
              <a:rPr lang="en-US" dirty="0"/>
              <a:t> to break tasks into subtasks</a:t>
            </a:r>
          </a:p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Set due dates</a:t>
            </a:r>
            <a:r>
              <a:rPr lang="en-US" dirty="0"/>
              <a:t> to track deadlines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C62CE5-8D7B-3AB9-4C63-246726DC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Key Functionalities</a:t>
            </a:r>
            <a:br>
              <a:rPr lang="en-US" dirty="0"/>
            </a:b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6AD5480-E704-AEC9-C690-07B7029647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265" y="1271551"/>
            <a:ext cx="7004039" cy="4314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81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34C1FDCA-0408-FE02-76E2-E83D95A10E7C}"/>
              </a:ext>
            </a:extLst>
          </p:cNvPr>
          <p:cNvGrpSpPr/>
          <p:nvPr/>
        </p:nvGrpSpPr>
        <p:grpSpPr>
          <a:xfrm>
            <a:off x="0" y="1098000"/>
            <a:ext cx="12192000" cy="6023192"/>
            <a:chOff x="0" y="1098000"/>
            <a:chExt cx="12192000" cy="602319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6C0D8BF-5625-2F6F-24CC-F8475F6FDEF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098000"/>
              <a:ext cx="12192000" cy="602319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0AF6052-1647-15D8-AAA2-26C03B2E40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975035" y="4278853"/>
              <a:ext cx="686522" cy="169901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50B40E9D-62AD-47D2-8C55-F2F6BD0EC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S TAB IN TRELLO SYSTEM</a:t>
            </a:r>
            <a:endParaRPr lang="en-US" dirty="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97E15DCA-0CA2-9E15-0370-09389E90FE75}"/>
              </a:ext>
            </a:extLst>
          </p:cNvPr>
          <p:cNvGrpSpPr/>
          <p:nvPr/>
        </p:nvGrpSpPr>
        <p:grpSpPr>
          <a:xfrm>
            <a:off x="8853470" y="2917148"/>
            <a:ext cx="2647319" cy="1652472"/>
            <a:chOff x="5434434" y="1390266"/>
            <a:chExt cx="2647319" cy="1652472"/>
          </a:xfrm>
        </p:grpSpPr>
        <p:sp>
          <p:nvSpPr>
            <p:cNvPr id="16" name="Google Shape;229;g370fc456c4b_0_4">
              <a:extLst>
                <a:ext uri="{FF2B5EF4-FFF2-40B4-BE49-F238E27FC236}">
                  <a16:creationId xmlns:a16="http://schemas.microsoft.com/office/drawing/2014/main" id="{6F82F4D1-5D21-5A69-29D7-0E253ED16537}"/>
                </a:ext>
              </a:extLst>
            </p:cNvPr>
            <p:cNvSpPr/>
            <p:nvPr/>
          </p:nvSpPr>
          <p:spPr>
            <a:xfrm>
              <a:off x="5434434" y="2034127"/>
              <a:ext cx="1704659" cy="100861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7" name="Google Shape;230;g370fc456c4b_0_4">
              <a:extLst>
                <a:ext uri="{FF2B5EF4-FFF2-40B4-BE49-F238E27FC236}">
                  <a16:creationId xmlns:a16="http://schemas.microsoft.com/office/drawing/2014/main" id="{11DF7370-F5AF-E01F-56CD-5D206F152197}"/>
                </a:ext>
              </a:extLst>
            </p:cNvPr>
            <p:cNvCxnSpPr>
              <a:cxnSpLocks/>
              <a:stCxn id="18" idx="1"/>
              <a:endCxn id="16" idx="0"/>
            </p:cNvCxnSpPr>
            <p:nvPr/>
          </p:nvCxnSpPr>
          <p:spPr>
            <a:xfrm flipH="1">
              <a:off x="6286764" y="1534002"/>
              <a:ext cx="1105172" cy="50012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53F79E29-1DAF-7A97-CF15-92A4FE7CF064}"/>
                </a:ext>
              </a:extLst>
            </p:cNvPr>
            <p:cNvSpPr/>
            <p:nvPr/>
          </p:nvSpPr>
          <p:spPr>
            <a:xfrm>
              <a:off x="7391936" y="1390266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834C31F-AEAF-7FA7-4E54-9B299920548D}"/>
              </a:ext>
            </a:extLst>
          </p:cNvPr>
          <p:cNvGrpSpPr/>
          <p:nvPr/>
        </p:nvGrpSpPr>
        <p:grpSpPr>
          <a:xfrm>
            <a:off x="3901494" y="1579880"/>
            <a:ext cx="3298924" cy="449784"/>
            <a:chOff x="3929937" y="1579541"/>
            <a:chExt cx="3298924" cy="449784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33CB2B2C-814D-C4A8-D84C-63956A38B7A6}"/>
                </a:ext>
              </a:extLst>
            </p:cNvPr>
            <p:cNvSpPr/>
            <p:nvPr/>
          </p:nvSpPr>
          <p:spPr>
            <a:xfrm>
              <a:off x="3929937" y="1737725"/>
              <a:ext cx="1233669" cy="2916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13910268-8335-E32F-5FB1-EF86EDA93EA0}"/>
                </a:ext>
              </a:extLst>
            </p:cNvPr>
            <p:cNvCxnSpPr>
              <a:cxnSpLocks/>
              <a:endCxn id="23" idx="3"/>
            </p:cNvCxnSpPr>
            <p:nvPr/>
          </p:nvCxnSpPr>
          <p:spPr>
            <a:xfrm flipH="1">
              <a:off x="5163606" y="1737725"/>
              <a:ext cx="345276" cy="14580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27DD2352-9678-CD17-BB4A-9BA54A9199CF}"/>
                </a:ext>
              </a:extLst>
            </p:cNvPr>
            <p:cNvSpPr/>
            <p:nvPr/>
          </p:nvSpPr>
          <p:spPr>
            <a:xfrm>
              <a:off x="5520092" y="1579541"/>
              <a:ext cx="1708769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StarredBoard</a:t>
              </a:r>
              <a:endParaRPr lang="en-US" dirty="0"/>
            </a:p>
          </p:txBody>
        </p: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FC26599C-DD54-4E80-6B79-A41BBBAA7F9C}"/>
              </a:ext>
            </a:extLst>
          </p:cNvPr>
          <p:cNvSpPr/>
          <p:nvPr/>
        </p:nvSpPr>
        <p:spPr>
          <a:xfrm>
            <a:off x="5506930" y="3255707"/>
            <a:ext cx="1612016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ViewHistory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4089131-88DF-FD29-BF67-AB410ED6A2E9}"/>
              </a:ext>
            </a:extLst>
          </p:cNvPr>
          <p:cNvGrpSpPr/>
          <p:nvPr/>
        </p:nvGrpSpPr>
        <p:grpSpPr>
          <a:xfrm>
            <a:off x="6252641" y="3994468"/>
            <a:ext cx="1143000" cy="917450"/>
            <a:chOff x="6167482" y="3994468"/>
            <a:chExt cx="1143000" cy="917450"/>
          </a:xfrm>
        </p:grpSpPr>
        <p:sp>
          <p:nvSpPr>
            <p:cNvPr id="29" name="Google Shape;229;g370fc456c4b_0_4">
              <a:extLst>
                <a:ext uri="{FF2B5EF4-FFF2-40B4-BE49-F238E27FC236}">
                  <a16:creationId xmlns:a16="http://schemas.microsoft.com/office/drawing/2014/main" id="{18AE19AC-DF93-9C6C-6403-D605815EE76C}"/>
                </a:ext>
              </a:extLst>
            </p:cNvPr>
            <p:cNvSpPr/>
            <p:nvPr/>
          </p:nvSpPr>
          <p:spPr>
            <a:xfrm>
              <a:off x="6480817" y="3994468"/>
              <a:ext cx="5163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0" name="Google Shape;230;g370fc456c4b_0_4">
              <a:extLst>
                <a:ext uri="{FF2B5EF4-FFF2-40B4-BE49-F238E27FC236}">
                  <a16:creationId xmlns:a16="http://schemas.microsoft.com/office/drawing/2014/main" id="{02D7C03D-C185-D25C-04FD-D368EFD7D87E}"/>
                </a:ext>
              </a:extLst>
            </p:cNvPr>
            <p:cNvCxnSpPr>
              <a:cxnSpLocks/>
              <a:endCxn id="29" idx="2"/>
            </p:cNvCxnSpPr>
            <p:nvPr/>
          </p:nvCxnSpPr>
          <p:spPr>
            <a:xfrm flipV="1">
              <a:off x="6738982" y="4175360"/>
              <a:ext cx="1" cy="43345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96324680-2009-F7E3-879A-C925DDE3115C}"/>
                </a:ext>
              </a:extLst>
            </p:cNvPr>
            <p:cNvSpPr/>
            <p:nvPr/>
          </p:nvSpPr>
          <p:spPr>
            <a:xfrm>
              <a:off x="6167482" y="4624446"/>
              <a:ext cx="11430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35" name="Google Shape;229;g370fc456c4b_0_4">
            <a:extLst>
              <a:ext uri="{FF2B5EF4-FFF2-40B4-BE49-F238E27FC236}">
                <a16:creationId xmlns:a16="http://schemas.microsoft.com/office/drawing/2014/main" id="{668788FF-BA6B-0C8E-9361-D5F73DD0DA54}"/>
              </a:ext>
            </a:extLst>
          </p:cNvPr>
          <p:cNvSpPr/>
          <p:nvPr/>
        </p:nvSpPr>
        <p:spPr>
          <a:xfrm>
            <a:off x="3933107" y="3272538"/>
            <a:ext cx="1262947" cy="291600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36" name="Google Shape;230;g370fc456c4b_0_4">
            <a:extLst>
              <a:ext uri="{FF2B5EF4-FFF2-40B4-BE49-F238E27FC236}">
                <a16:creationId xmlns:a16="http://schemas.microsoft.com/office/drawing/2014/main" id="{9538C291-E20D-A267-7576-1BCE2F952EB4}"/>
              </a:ext>
            </a:extLst>
          </p:cNvPr>
          <p:cNvCxnSpPr>
            <a:cxnSpLocks/>
            <a:endCxn id="35" idx="3"/>
          </p:cNvCxnSpPr>
          <p:nvPr/>
        </p:nvCxnSpPr>
        <p:spPr>
          <a:xfrm flipH="1">
            <a:off x="5196054" y="3418338"/>
            <a:ext cx="296604" cy="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55" name="Group 54">
            <a:extLst>
              <a:ext uri="{FF2B5EF4-FFF2-40B4-BE49-F238E27FC236}">
                <a16:creationId xmlns:a16="http://schemas.microsoft.com/office/drawing/2014/main" id="{1191A6AB-B388-15A5-154B-894FA8C84E9E}"/>
              </a:ext>
            </a:extLst>
          </p:cNvPr>
          <p:cNvGrpSpPr/>
          <p:nvPr/>
        </p:nvGrpSpPr>
        <p:grpSpPr>
          <a:xfrm>
            <a:off x="8930690" y="4246051"/>
            <a:ext cx="2843378" cy="287472"/>
            <a:chOff x="6436472" y="3945088"/>
            <a:chExt cx="2843378" cy="287472"/>
          </a:xfrm>
        </p:grpSpPr>
        <p:sp>
          <p:nvSpPr>
            <p:cNvPr id="56" name="Google Shape;229;g370fc456c4b_0_4">
              <a:extLst>
                <a:ext uri="{FF2B5EF4-FFF2-40B4-BE49-F238E27FC236}">
                  <a16:creationId xmlns:a16="http://schemas.microsoft.com/office/drawing/2014/main" id="{90CD6F8F-91C7-5E65-458A-E990A0C56793}"/>
                </a:ext>
              </a:extLst>
            </p:cNvPr>
            <p:cNvSpPr/>
            <p:nvPr/>
          </p:nvSpPr>
          <p:spPr>
            <a:xfrm>
              <a:off x="6436472" y="3994468"/>
              <a:ext cx="730867" cy="16990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7" name="Google Shape;230;g370fc456c4b_0_4">
              <a:extLst>
                <a:ext uri="{FF2B5EF4-FFF2-40B4-BE49-F238E27FC236}">
                  <a16:creationId xmlns:a16="http://schemas.microsoft.com/office/drawing/2014/main" id="{919AD1CC-4D78-EE6B-533B-37ADA23ED8BC}"/>
                </a:ext>
              </a:extLst>
            </p:cNvPr>
            <p:cNvCxnSpPr>
              <a:cxnSpLocks/>
              <a:endCxn id="56" idx="3"/>
            </p:cNvCxnSpPr>
            <p:nvPr/>
          </p:nvCxnSpPr>
          <p:spPr>
            <a:xfrm flipH="1" flipV="1">
              <a:off x="7167339" y="4079419"/>
              <a:ext cx="1061861" cy="685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DCFC41F2-CBA7-6B41-EAF1-C2929612F753}"/>
                </a:ext>
              </a:extLst>
            </p:cNvPr>
            <p:cNvSpPr/>
            <p:nvPr/>
          </p:nvSpPr>
          <p:spPr>
            <a:xfrm>
              <a:off x="8229200" y="3945088"/>
              <a:ext cx="105065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3A199B9-0CB3-50C5-8BEE-8B16F5AE835E}"/>
              </a:ext>
            </a:extLst>
          </p:cNvPr>
          <p:cNvGrpSpPr/>
          <p:nvPr/>
        </p:nvGrpSpPr>
        <p:grpSpPr>
          <a:xfrm>
            <a:off x="8930690" y="3637867"/>
            <a:ext cx="3173756" cy="602217"/>
            <a:chOff x="6480817" y="3994467"/>
            <a:chExt cx="3173756" cy="602217"/>
          </a:xfrm>
        </p:grpSpPr>
        <p:sp>
          <p:nvSpPr>
            <p:cNvPr id="63" name="Google Shape;229;g370fc456c4b_0_4">
              <a:extLst>
                <a:ext uri="{FF2B5EF4-FFF2-40B4-BE49-F238E27FC236}">
                  <a16:creationId xmlns:a16="http://schemas.microsoft.com/office/drawing/2014/main" id="{743FEE87-9D9F-6C86-362D-C24AC3EDA6E0}"/>
                </a:ext>
              </a:extLst>
            </p:cNvPr>
            <p:cNvSpPr/>
            <p:nvPr/>
          </p:nvSpPr>
          <p:spPr>
            <a:xfrm>
              <a:off x="6480817" y="3994467"/>
              <a:ext cx="1530949" cy="60221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4" name="Google Shape;230;g370fc456c4b_0_4">
              <a:extLst>
                <a:ext uri="{FF2B5EF4-FFF2-40B4-BE49-F238E27FC236}">
                  <a16:creationId xmlns:a16="http://schemas.microsoft.com/office/drawing/2014/main" id="{7845ADD7-A7AF-1D48-A56D-38A883A23ACE}"/>
                </a:ext>
              </a:extLst>
            </p:cNvPr>
            <p:cNvCxnSpPr>
              <a:cxnSpLocks/>
              <a:endCxn id="63" idx="3"/>
            </p:cNvCxnSpPr>
            <p:nvPr/>
          </p:nvCxnSpPr>
          <p:spPr>
            <a:xfrm flipH="1">
              <a:off x="8011766" y="4295576"/>
              <a:ext cx="261779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D42C1EA2-3B0B-90D4-D6B6-3E824A0A1D52}"/>
                </a:ext>
              </a:extLst>
            </p:cNvPr>
            <p:cNvSpPr/>
            <p:nvPr/>
          </p:nvSpPr>
          <p:spPr>
            <a:xfrm>
              <a:off x="8273545" y="4157882"/>
              <a:ext cx="138102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 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9A7CD06-CC47-0EC7-42A2-368E8B6B37B7}"/>
              </a:ext>
            </a:extLst>
          </p:cNvPr>
          <p:cNvGrpSpPr/>
          <p:nvPr/>
        </p:nvGrpSpPr>
        <p:grpSpPr>
          <a:xfrm>
            <a:off x="7972383" y="4720917"/>
            <a:ext cx="1915959" cy="822569"/>
            <a:chOff x="3929938" y="1206756"/>
            <a:chExt cx="1915959" cy="822569"/>
          </a:xfrm>
        </p:grpSpPr>
        <p:sp>
          <p:nvSpPr>
            <p:cNvPr id="72" name="Google Shape;229;g370fc456c4b_0_4">
              <a:extLst>
                <a:ext uri="{FF2B5EF4-FFF2-40B4-BE49-F238E27FC236}">
                  <a16:creationId xmlns:a16="http://schemas.microsoft.com/office/drawing/2014/main" id="{2DAFB084-37AE-637F-3587-CC29FFFE2C00}"/>
                </a:ext>
              </a:extLst>
            </p:cNvPr>
            <p:cNvSpPr/>
            <p:nvPr/>
          </p:nvSpPr>
          <p:spPr>
            <a:xfrm>
              <a:off x="3929938" y="1737725"/>
              <a:ext cx="873444" cy="2916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3" name="Google Shape;230;g370fc456c4b_0_4">
              <a:extLst>
                <a:ext uri="{FF2B5EF4-FFF2-40B4-BE49-F238E27FC236}">
                  <a16:creationId xmlns:a16="http://schemas.microsoft.com/office/drawing/2014/main" id="{24C84D1E-7389-DA83-B59E-9A25E048F415}"/>
                </a:ext>
              </a:extLst>
            </p:cNvPr>
            <p:cNvCxnSpPr>
              <a:cxnSpLocks/>
              <a:endCxn id="72" idx="3"/>
            </p:cNvCxnSpPr>
            <p:nvPr/>
          </p:nvCxnSpPr>
          <p:spPr>
            <a:xfrm flipH="1">
              <a:off x="4803382" y="1536304"/>
              <a:ext cx="542722" cy="347221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25A1159B-BC54-700F-EB89-4BFE533C2045}"/>
                </a:ext>
              </a:extLst>
            </p:cNvPr>
            <p:cNvSpPr/>
            <p:nvPr/>
          </p:nvSpPr>
          <p:spPr>
            <a:xfrm>
              <a:off x="4932590" y="1206756"/>
              <a:ext cx="91330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736F706F-1350-7971-E7ED-2F0E03BD330D}"/>
              </a:ext>
            </a:extLst>
          </p:cNvPr>
          <p:cNvGrpSpPr/>
          <p:nvPr/>
        </p:nvGrpSpPr>
        <p:grpSpPr>
          <a:xfrm>
            <a:off x="11460287" y="1160890"/>
            <a:ext cx="731713" cy="850198"/>
            <a:chOff x="6506511" y="1227259"/>
            <a:chExt cx="731713" cy="850198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18BE1376-FC59-16CC-5BA4-9D975E6D279F}"/>
                </a:ext>
              </a:extLst>
            </p:cNvPr>
            <p:cNvSpPr/>
            <p:nvPr/>
          </p:nvSpPr>
          <p:spPr>
            <a:xfrm>
              <a:off x="7043416" y="1227259"/>
              <a:ext cx="194808" cy="17492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A1637EA2-F1C8-1FAC-0082-25BEC74E9646}"/>
                </a:ext>
              </a:extLst>
            </p:cNvPr>
            <p:cNvCxnSpPr>
              <a:cxnSpLocks/>
              <a:endCxn id="81" idx="2"/>
            </p:cNvCxnSpPr>
            <p:nvPr/>
          </p:nvCxnSpPr>
          <p:spPr>
            <a:xfrm flipV="1">
              <a:off x="6831114" y="1402188"/>
              <a:ext cx="309706" cy="38779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31B79FB6-013B-EFF6-8F05-0FA64A8771CF}"/>
                </a:ext>
              </a:extLst>
            </p:cNvPr>
            <p:cNvSpPr/>
            <p:nvPr/>
          </p:nvSpPr>
          <p:spPr>
            <a:xfrm>
              <a:off x="6506511" y="1789985"/>
              <a:ext cx="5994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A0AF6782-4948-07FD-2706-4B509626794B}"/>
              </a:ext>
            </a:extLst>
          </p:cNvPr>
          <p:cNvGrpSpPr/>
          <p:nvPr/>
        </p:nvGrpSpPr>
        <p:grpSpPr>
          <a:xfrm>
            <a:off x="143656" y="2826748"/>
            <a:ext cx="2166199" cy="507759"/>
            <a:chOff x="3999404" y="2158819"/>
            <a:chExt cx="2166199" cy="507759"/>
          </a:xfrm>
        </p:grpSpPr>
        <p:sp>
          <p:nvSpPr>
            <p:cNvPr id="99" name="Google Shape;229;g370fc456c4b_0_4">
              <a:extLst>
                <a:ext uri="{FF2B5EF4-FFF2-40B4-BE49-F238E27FC236}">
                  <a16:creationId xmlns:a16="http://schemas.microsoft.com/office/drawing/2014/main" id="{51C62539-7A12-0EC0-C8CE-DF38319DE4DF}"/>
                </a:ext>
              </a:extLst>
            </p:cNvPr>
            <p:cNvSpPr/>
            <p:nvPr/>
          </p:nvSpPr>
          <p:spPr>
            <a:xfrm>
              <a:off x="5536317" y="2158819"/>
              <a:ext cx="629286" cy="20849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0" name="Google Shape;230;g370fc456c4b_0_4">
              <a:extLst>
                <a:ext uri="{FF2B5EF4-FFF2-40B4-BE49-F238E27FC236}">
                  <a16:creationId xmlns:a16="http://schemas.microsoft.com/office/drawing/2014/main" id="{783034B2-39AD-672C-1250-5AAB5C902A85}"/>
                </a:ext>
              </a:extLst>
            </p:cNvPr>
            <p:cNvCxnSpPr>
              <a:cxnSpLocks/>
              <a:endCxn id="99" idx="1"/>
            </p:cNvCxnSpPr>
            <p:nvPr/>
          </p:nvCxnSpPr>
          <p:spPr>
            <a:xfrm flipV="1">
              <a:off x="5138251" y="2263069"/>
              <a:ext cx="398066" cy="25977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1" name="Rectangle: Rounded Corners 100">
              <a:extLst>
                <a:ext uri="{FF2B5EF4-FFF2-40B4-BE49-F238E27FC236}">
                  <a16:creationId xmlns:a16="http://schemas.microsoft.com/office/drawing/2014/main" id="{227257C0-A0A9-1FDE-7EB6-3D559F851F50}"/>
                </a:ext>
              </a:extLst>
            </p:cNvPr>
            <p:cNvSpPr/>
            <p:nvPr/>
          </p:nvSpPr>
          <p:spPr>
            <a:xfrm>
              <a:off x="3999404" y="2379106"/>
              <a:ext cx="112347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apce</a:t>
              </a:r>
              <a:endParaRPr lang="en-US" dirty="0"/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5B24A8A5-39A8-B571-5685-579D12237CB2}"/>
              </a:ext>
            </a:extLst>
          </p:cNvPr>
          <p:cNvGrpSpPr/>
          <p:nvPr/>
        </p:nvGrpSpPr>
        <p:grpSpPr>
          <a:xfrm>
            <a:off x="699715" y="3426483"/>
            <a:ext cx="1216549" cy="384483"/>
            <a:chOff x="5499963" y="3994468"/>
            <a:chExt cx="1216549" cy="384483"/>
          </a:xfrm>
        </p:grpSpPr>
        <p:sp>
          <p:nvSpPr>
            <p:cNvPr id="107" name="Google Shape;229;g370fc456c4b_0_4">
              <a:extLst>
                <a:ext uri="{FF2B5EF4-FFF2-40B4-BE49-F238E27FC236}">
                  <a16:creationId xmlns:a16="http://schemas.microsoft.com/office/drawing/2014/main" id="{F8338C42-C7F4-3DB5-BC74-9565DF8B183C}"/>
                </a:ext>
              </a:extLst>
            </p:cNvPr>
            <p:cNvSpPr/>
            <p:nvPr/>
          </p:nvSpPr>
          <p:spPr>
            <a:xfrm>
              <a:off x="6480817" y="3994468"/>
              <a:ext cx="235695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8" name="Google Shape;230;g370fc456c4b_0_4">
              <a:extLst>
                <a:ext uri="{FF2B5EF4-FFF2-40B4-BE49-F238E27FC236}">
                  <a16:creationId xmlns:a16="http://schemas.microsoft.com/office/drawing/2014/main" id="{8CDE9442-D2B7-5ED6-4D48-E505944CA080}"/>
                </a:ext>
              </a:extLst>
            </p:cNvPr>
            <p:cNvCxnSpPr>
              <a:cxnSpLocks/>
              <a:endCxn id="107" idx="1"/>
            </p:cNvCxnSpPr>
            <p:nvPr/>
          </p:nvCxnSpPr>
          <p:spPr>
            <a:xfrm flipV="1">
              <a:off x="6163897" y="4084914"/>
              <a:ext cx="316920" cy="15030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9" name="Rectangle: Rounded Corners 108">
              <a:extLst>
                <a:ext uri="{FF2B5EF4-FFF2-40B4-BE49-F238E27FC236}">
                  <a16:creationId xmlns:a16="http://schemas.microsoft.com/office/drawing/2014/main" id="{432FB443-A3B7-1C05-67A1-F2D1B8CCF964}"/>
                </a:ext>
              </a:extLst>
            </p:cNvPr>
            <p:cNvSpPr/>
            <p:nvPr/>
          </p:nvSpPr>
          <p:spPr>
            <a:xfrm>
              <a:off x="5499963" y="4091479"/>
              <a:ext cx="65679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o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D990B4F6-5B9D-07EB-052D-5FAC78714AE6}"/>
              </a:ext>
            </a:extLst>
          </p:cNvPr>
          <p:cNvGrpSpPr/>
          <p:nvPr/>
        </p:nvGrpSpPr>
        <p:grpSpPr>
          <a:xfrm>
            <a:off x="675199" y="3427410"/>
            <a:ext cx="2171368" cy="843626"/>
            <a:chOff x="5199802" y="3994468"/>
            <a:chExt cx="2171368" cy="843626"/>
          </a:xfrm>
        </p:grpSpPr>
        <p:sp>
          <p:nvSpPr>
            <p:cNvPr id="115" name="Google Shape;229;g370fc456c4b_0_4">
              <a:extLst>
                <a:ext uri="{FF2B5EF4-FFF2-40B4-BE49-F238E27FC236}">
                  <a16:creationId xmlns:a16="http://schemas.microsoft.com/office/drawing/2014/main" id="{2EB979C8-4EC6-38F7-211A-B788E3ADB95E}"/>
                </a:ext>
              </a:extLst>
            </p:cNvPr>
            <p:cNvSpPr/>
            <p:nvPr/>
          </p:nvSpPr>
          <p:spPr>
            <a:xfrm>
              <a:off x="6480817" y="3994468"/>
              <a:ext cx="890353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6" name="Google Shape;230;g370fc456c4b_0_4">
              <a:extLst>
                <a:ext uri="{FF2B5EF4-FFF2-40B4-BE49-F238E27FC236}">
                  <a16:creationId xmlns:a16="http://schemas.microsoft.com/office/drawing/2014/main" id="{ECCDED2F-FE22-C493-C62F-B7A782C9D9CE}"/>
                </a:ext>
              </a:extLst>
            </p:cNvPr>
            <p:cNvCxnSpPr>
              <a:cxnSpLocks/>
              <a:stCxn id="117" idx="3"/>
              <a:endCxn id="115" idx="2"/>
            </p:cNvCxnSpPr>
            <p:nvPr/>
          </p:nvCxnSpPr>
          <p:spPr>
            <a:xfrm flipV="1">
              <a:off x="5905631" y="4175360"/>
              <a:ext cx="1020363" cy="51899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7" name="Rectangle: Rounded Corners 116">
              <a:extLst>
                <a:ext uri="{FF2B5EF4-FFF2-40B4-BE49-F238E27FC236}">
                  <a16:creationId xmlns:a16="http://schemas.microsoft.com/office/drawing/2014/main" id="{4175C07B-1B2A-D81A-1936-14157C8E3A56}"/>
                </a:ext>
              </a:extLst>
            </p:cNvPr>
            <p:cNvSpPr/>
            <p:nvPr/>
          </p:nvSpPr>
          <p:spPr>
            <a:xfrm>
              <a:off x="5199802" y="4550622"/>
              <a:ext cx="70582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D87FC9A-1ABF-4489-327E-C2F0A983CB7D}"/>
              </a:ext>
            </a:extLst>
          </p:cNvPr>
          <p:cNvGrpSpPr/>
          <p:nvPr/>
        </p:nvGrpSpPr>
        <p:grpSpPr>
          <a:xfrm>
            <a:off x="4020632" y="2185639"/>
            <a:ext cx="1415766" cy="415556"/>
            <a:chOff x="5330282" y="3994468"/>
            <a:chExt cx="1415766" cy="415556"/>
          </a:xfrm>
        </p:grpSpPr>
        <p:sp>
          <p:nvSpPr>
            <p:cNvPr id="5" name="Google Shape;229;g370fc456c4b_0_4">
              <a:extLst>
                <a:ext uri="{FF2B5EF4-FFF2-40B4-BE49-F238E27FC236}">
                  <a16:creationId xmlns:a16="http://schemas.microsoft.com/office/drawing/2014/main" id="{A493BBC2-C7EA-3618-2B14-A342E30C62ED}"/>
                </a:ext>
              </a:extLst>
            </p:cNvPr>
            <p:cNvSpPr/>
            <p:nvPr/>
          </p:nvSpPr>
          <p:spPr>
            <a:xfrm>
              <a:off x="6480817" y="3994468"/>
              <a:ext cx="2652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" name="Google Shape;230;g370fc456c4b_0_4">
              <a:extLst>
                <a:ext uri="{FF2B5EF4-FFF2-40B4-BE49-F238E27FC236}">
                  <a16:creationId xmlns:a16="http://schemas.microsoft.com/office/drawing/2014/main" id="{FF155E9B-67EA-9AC9-BD13-AC285163FD3D}"/>
                </a:ext>
              </a:extLst>
            </p:cNvPr>
            <p:cNvCxnSpPr>
              <a:cxnSpLocks/>
              <a:stCxn id="7" idx="3"/>
              <a:endCxn id="5" idx="1"/>
            </p:cNvCxnSpPr>
            <p:nvPr/>
          </p:nvCxnSpPr>
          <p:spPr>
            <a:xfrm flipV="1">
              <a:off x="6039713" y="4084914"/>
              <a:ext cx="441104" cy="18137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EFFD446-9014-0FF6-6ED1-73DB246BD4F9}"/>
                </a:ext>
              </a:extLst>
            </p:cNvPr>
            <p:cNvSpPr/>
            <p:nvPr/>
          </p:nvSpPr>
          <p:spPr>
            <a:xfrm>
              <a:off x="5330282" y="4122552"/>
              <a:ext cx="70943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91903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86344-2DD6-5B15-51DB-3BA25DC163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930AF104-0FBD-797C-2FD0-EA159ED04AB4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FB3AE34-8A7C-184E-8B29-00319A358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USER IN TRELLO SYSTEM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A4A5EA9-B194-35D6-CC3F-07A177C28C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4428653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9368EFA-393A-0B6E-B9B3-B7E94BDB8DE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62107"/>
          <a:stretch>
            <a:fillRect/>
          </a:stretch>
        </p:blipFill>
        <p:spPr>
          <a:xfrm>
            <a:off x="4428653" y="1098000"/>
            <a:ext cx="3406312" cy="576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CFA9C27-3E21-050A-DA30-29505851F91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9163"/>
          <a:stretch>
            <a:fillRect/>
          </a:stretch>
        </p:blipFill>
        <p:spPr>
          <a:xfrm>
            <a:off x="7622071" y="1097998"/>
            <a:ext cx="4569929" cy="5760001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8B3F4692-F3C7-D8A5-B14A-9572D3A2CE29}"/>
              </a:ext>
            </a:extLst>
          </p:cNvPr>
          <p:cNvGrpSpPr/>
          <p:nvPr/>
        </p:nvGrpSpPr>
        <p:grpSpPr>
          <a:xfrm>
            <a:off x="753557" y="1633339"/>
            <a:ext cx="3048421" cy="885991"/>
            <a:chOff x="4448434" y="2079846"/>
            <a:chExt cx="3048421" cy="885991"/>
          </a:xfrm>
        </p:grpSpPr>
        <p:sp>
          <p:nvSpPr>
            <p:cNvPr id="10" name="Google Shape;229;g370fc456c4b_0_4">
              <a:extLst>
                <a:ext uri="{FF2B5EF4-FFF2-40B4-BE49-F238E27FC236}">
                  <a16:creationId xmlns:a16="http://schemas.microsoft.com/office/drawing/2014/main" id="{F8865561-F339-C01B-6124-50195F0A8B46}"/>
                </a:ext>
              </a:extLst>
            </p:cNvPr>
            <p:cNvSpPr/>
            <p:nvPr/>
          </p:nvSpPr>
          <p:spPr>
            <a:xfrm>
              <a:off x="5536316" y="2079846"/>
              <a:ext cx="1960539" cy="88599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" name="Google Shape;230;g370fc456c4b_0_4">
              <a:extLst>
                <a:ext uri="{FF2B5EF4-FFF2-40B4-BE49-F238E27FC236}">
                  <a16:creationId xmlns:a16="http://schemas.microsoft.com/office/drawing/2014/main" id="{3699E3C9-8325-78EA-52A0-0789F2DF9F55}"/>
                </a:ext>
              </a:extLst>
            </p:cNvPr>
            <p:cNvCxnSpPr>
              <a:cxnSpLocks/>
              <a:endCxn id="10" idx="1"/>
            </p:cNvCxnSpPr>
            <p:nvPr/>
          </p:nvCxnSpPr>
          <p:spPr>
            <a:xfrm>
              <a:off x="5138251" y="2522842"/>
              <a:ext cx="39806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A3EDF065-2598-450B-DB06-E70DC67FBABC}"/>
                </a:ext>
              </a:extLst>
            </p:cNvPr>
            <p:cNvSpPr/>
            <p:nvPr/>
          </p:nvSpPr>
          <p:spPr>
            <a:xfrm>
              <a:off x="4448434" y="2379105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E9DE840-5E18-3AE3-6924-BA99DDE48E48}"/>
              </a:ext>
            </a:extLst>
          </p:cNvPr>
          <p:cNvGrpSpPr/>
          <p:nvPr/>
        </p:nvGrpSpPr>
        <p:grpSpPr>
          <a:xfrm>
            <a:off x="461176" y="2031558"/>
            <a:ext cx="1778328" cy="737512"/>
            <a:chOff x="5066069" y="3926330"/>
            <a:chExt cx="1778328" cy="737512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FAC14C5A-7689-A5B1-CCF8-370C5B839B44}"/>
                </a:ext>
              </a:extLst>
            </p:cNvPr>
            <p:cNvSpPr/>
            <p:nvPr/>
          </p:nvSpPr>
          <p:spPr>
            <a:xfrm>
              <a:off x="6480817" y="3926330"/>
              <a:ext cx="363580" cy="3458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D02EED01-B304-CDF2-4D3D-A66B849FD643}"/>
                </a:ext>
              </a:extLst>
            </p:cNvPr>
            <p:cNvCxnSpPr>
              <a:cxnSpLocks/>
              <a:endCxn id="15" idx="2"/>
            </p:cNvCxnSpPr>
            <p:nvPr/>
          </p:nvCxnSpPr>
          <p:spPr>
            <a:xfrm flipV="1">
              <a:off x="6044684" y="4272212"/>
              <a:ext cx="617923" cy="240102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7D15D913-659E-657C-6572-473ADFBB1A84}"/>
                </a:ext>
              </a:extLst>
            </p:cNvPr>
            <p:cNvSpPr/>
            <p:nvPr/>
          </p:nvSpPr>
          <p:spPr>
            <a:xfrm>
              <a:off x="5066069" y="4376370"/>
              <a:ext cx="98219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icture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A4466FD-F386-5464-2F55-CE44B0113419}"/>
              </a:ext>
            </a:extLst>
          </p:cNvPr>
          <p:cNvGrpSpPr/>
          <p:nvPr/>
        </p:nvGrpSpPr>
        <p:grpSpPr>
          <a:xfrm>
            <a:off x="6607534" y="5140517"/>
            <a:ext cx="1896386" cy="563824"/>
            <a:chOff x="5141605" y="4100018"/>
            <a:chExt cx="1896386" cy="563824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5146C14E-C31B-6EC2-24F5-5531E58AEBF6}"/>
                </a:ext>
              </a:extLst>
            </p:cNvPr>
            <p:cNvSpPr/>
            <p:nvPr/>
          </p:nvSpPr>
          <p:spPr>
            <a:xfrm>
              <a:off x="6480817" y="4100018"/>
              <a:ext cx="557174" cy="17219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AAFD7F62-81E9-8E58-03E8-0B9FEBE3A449}"/>
                </a:ext>
              </a:extLst>
            </p:cNvPr>
            <p:cNvCxnSpPr>
              <a:cxnSpLocks/>
              <a:endCxn id="23" idx="2"/>
            </p:cNvCxnSpPr>
            <p:nvPr/>
          </p:nvCxnSpPr>
          <p:spPr>
            <a:xfrm flipV="1">
              <a:off x="6044684" y="4272211"/>
              <a:ext cx="714720" cy="24010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570EE1AC-39AD-A654-9182-6A1E8B87BA2A}"/>
                </a:ext>
              </a:extLst>
            </p:cNvPr>
            <p:cNvSpPr/>
            <p:nvPr/>
          </p:nvSpPr>
          <p:spPr>
            <a:xfrm>
              <a:off x="5141605" y="4376370"/>
              <a:ext cx="9066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E9397EF-9703-F7B4-23C2-F9A2BE240D36}"/>
              </a:ext>
            </a:extLst>
          </p:cNvPr>
          <p:cNvGrpSpPr/>
          <p:nvPr/>
        </p:nvGrpSpPr>
        <p:grpSpPr>
          <a:xfrm>
            <a:off x="6618149" y="5725006"/>
            <a:ext cx="1782686" cy="563824"/>
            <a:chOff x="5141605" y="4100018"/>
            <a:chExt cx="1782686" cy="563824"/>
          </a:xfrm>
        </p:grpSpPr>
        <p:cxnSp>
          <p:nvCxnSpPr>
            <p:cNvPr id="30" name="Google Shape;230;g370fc456c4b_0_4">
              <a:extLst>
                <a:ext uri="{FF2B5EF4-FFF2-40B4-BE49-F238E27FC236}">
                  <a16:creationId xmlns:a16="http://schemas.microsoft.com/office/drawing/2014/main" id="{61CA6E0F-3823-FB35-E199-E025BEC71A07}"/>
                </a:ext>
              </a:extLst>
            </p:cNvPr>
            <p:cNvCxnSpPr>
              <a:cxnSpLocks/>
              <a:endCxn id="29" idx="1"/>
            </p:cNvCxnSpPr>
            <p:nvPr/>
          </p:nvCxnSpPr>
          <p:spPr>
            <a:xfrm flipV="1">
              <a:off x="6098166" y="4238194"/>
              <a:ext cx="368131" cy="27411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3375FAF9-F8E2-B846-E4D6-C219FD031606}"/>
                </a:ext>
              </a:extLst>
            </p:cNvPr>
            <p:cNvSpPr/>
            <p:nvPr/>
          </p:nvSpPr>
          <p:spPr>
            <a:xfrm>
              <a:off x="5141605" y="4376370"/>
              <a:ext cx="9066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io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  <p:sp>
          <p:nvSpPr>
            <p:cNvPr id="29" name="Google Shape;229;g370fc456c4b_0_4">
              <a:extLst>
                <a:ext uri="{FF2B5EF4-FFF2-40B4-BE49-F238E27FC236}">
                  <a16:creationId xmlns:a16="http://schemas.microsoft.com/office/drawing/2014/main" id="{C5D78838-E7B7-A194-56BD-6C0ADC48657A}"/>
                </a:ext>
              </a:extLst>
            </p:cNvPr>
            <p:cNvSpPr/>
            <p:nvPr/>
          </p:nvSpPr>
          <p:spPr>
            <a:xfrm>
              <a:off x="6466297" y="4100018"/>
              <a:ext cx="457994" cy="27635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21B21CC-14BB-4484-DA3E-5FEB9D23BD11}"/>
              </a:ext>
            </a:extLst>
          </p:cNvPr>
          <p:cNvGrpSpPr/>
          <p:nvPr/>
        </p:nvGrpSpPr>
        <p:grpSpPr>
          <a:xfrm>
            <a:off x="457593" y="2220070"/>
            <a:ext cx="3344384" cy="1141573"/>
            <a:chOff x="4620017" y="3966363"/>
            <a:chExt cx="3344384" cy="1141573"/>
          </a:xfrm>
        </p:grpSpPr>
        <p:sp>
          <p:nvSpPr>
            <p:cNvPr id="41" name="Google Shape;229;g370fc456c4b_0_4">
              <a:extLst>
                <a:ext uri="{FF2B5EF4-FFF2-40B4-BE49-F238E27FC236}">
                  <a16:creationId xmlns:a16="http://schemas.microsoft.com/office/drawing/2014/main" id="{007FA49F-59B1-06BF-D60F-37F294E96B60}"/>
                </a:ext>
              </a:extLst>
            </p:cNvPr>
            <p:cNvSpPr/>
            <p:nvPr/>
          </p:nvSpPr>
          <p:spPr>
            <a:xfrm>
              <a:off x="6449288" y="3966363"/>
              <a:ext cx="1515113" cy="15737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2" name="Google Shape;230;g370fc456c4b_0_4">
              <a:extLst>
                <a:ext uri="{FF2B5EF4-FFF2-40B4-BE49-F238E27FC236}">
                  <a16:creationId xmlns:a16="http://schemas.microsoft.com/office/drawing/2014/main" id="{D849666B-85A7-3873-7A1C-05A08AB14774}"/>
                </a:ext>
              </a:extLst>
            </p:cNvPr>
            <p:cNvCxnSpPr>
              <a:cxnSpLocks/>
              <a:endCxn id="41" idx="2"/>
            </p:cNvCxnSpPr>
            <p:nvPr/>
          </p:nvCxnSpPr>
          <p:spPr>
            <a:xfrm flipV="1">
              <a:off x="5602214" y="4123733"/>
              <a:ext cx="1604631" cy="840467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831B6DBB-5579-5003-1E9F-61C086B6C3C3}"/>
                </a:ext>
              </a:extLst>
            </p:cNvPr>
            <p:cNvSpPr/>
            <p:nvPr/>
          </p:nvSpPr>
          <p:spPr>
            <a:xfrm>
              <a:off x="4620017" y="4820464"/>
              <a:ext cx="98219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mai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pic>
        <p:nvPicPr>
          <p:cNvPr id="37" name="Picture 36">
            <a:extLst>
              <a:ext uri="{FF2B5EF4-FFF2-40B4-BE49-F238E27FC236}">
                <a16:creationId xmlns:a16="http://schemas.microsoft.com/office/drawing/2014/main" id="{BAE6E28B-3BDE-D37E-04BD-11A31E566FF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2659" r="14236"/>
          <a:stretch>
            <a:fillRect/>
          </a:stretch>
        </p:blipFill>
        <p:spPr>
          <a:xfrm>
            <a:off x="7990201" y="5753727"/>
            <a:ext cx="334815" cy="211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9379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A4F58D-66D8-6F35-7168-7F955D75DF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F4212D7-30B7-F6A0-9153-369DF2270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, BOARD IN TRELLO SYSTEM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5BF25BF-E031-0EEB-E2A9-8FC179A894E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28951"/>
          <a:stretch>
            <a:fillRect/>
          </a:stretch>
        </p:blipFill>
        <p:spPr>
          <a:xfrm>
            <a:off x="1" y="1270535"/>
            <a:ext cx="6181059" cy="558746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97BE06E-862F-5C69-651B-BC063CA66D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9363" y="1270533"/>
            <a:ext cx="4622637" cy="5587467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B376C86-A62D-4D79-FA75-330FA90A851A}"/>
              </a:ext>
            </a:extLst>
          </p:cNvPr>
          <p:cNvSpPr/>
          <p:nvPr/>
        </p:nvSpPr>
        <p:spPr>
          <a:xfrm>
            <a:off x="2466625" y="842333"/>
            <a:ext cx="1111462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orkspace</a:t>
            </a:r>
            <a:endParaRPr lang="en-US" dirty="0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EF1633B1-5857-DC9F-85F7-AF0FC8E63E5A}"/>
              </a:ext>
            </a:extLst>
          </p:cNvPr>
          <p:cNvSpPr/>
          <p:nvPr/>
        </p:nvSpPr>
        <p:spPr>
          <a:xfrm>
            <a:off x="9604219" y="842333"/>
            <a:ext cx="1111462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ard</a:t>
            </a:r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27BFD87-2310-C2B4-B4B6-3315FF82D977}"/>
              </a:ext>
            </a:extLst>
          </p:cNvPr>
          <p:cNvGrpSpPr/>
          <p:nvPr/>
        </p:nvGrpSpPr>
        <p:grpSpPr>
          <a:xfrm>
            <a:off x="819013" y="2941012"/>
            <a:ext cx="4486634" cy="487987"/>
            <a:chOff x="6480817" y="3994467"/>
            <a:chExt cx="4486634" cy="487987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D0C2DECF-4AA7-9B33-ECA1-6F6ED22BB2CD}"/>
                </a:ext>
              </a:extLst>
            </p:cNvPr>
            <p:cNvSpPr/>
            <p:nvPr/>
          </p:nvSpPr>
          <p:spPr>
            <a:xfrm>
              <a:off x="6480817" y="3994467"/>
              <a:ext cx="2886713" cy="48798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05C9D09F-CE74-7B00-A848-2E6B593EFAA7}"/>
                </a:ext>
              </a:extLst>
            </p:cNvPr>
            <p:cNvCxnSpPr>
              <a:cxnSpLocks/>
              <a:endCxn id="23" idx="3"/>
            </p:cNvCxnSpPr>
            <p:nvPr/>
          </p:nvCxnSpPr>
          <p:spPr>
            <a:xfrm flipH="1">
              <a:off x="9367530" y="4238461"/>
              <a:ext cx="163630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C6366016-C9A3-D603-4104-D4386BC16073}"/>
                </a:ext>
              </a:extLst>
            </p:cNvPr>
            <p:cNvSpPr/>
            <p:nvPr/>
          </p:nvSpPr>
          <p:spPr>
            <a:xfrm>
              <a:off x="9541050" y="4094724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4197177-9D22-27FE-93FC-44D93DFD4E7A}"/>
              </a:ext>
            </a:extLst>
          </p:cNvPr>
          <p:cNvGrpSpPr/>
          <p:nvPr/>
        </p:nvGrpSpPr>
        <p:grpSpPr>
          <a:xfrm>
            <a:off x="819013" y="4430401"/>
            <a:ext cx="4832192" cy="1157064"/>
            <a:chOff x="6480817" y="3994467"/>
            <a:chExt cx="4832192" cy="1157064"/>
          </a:xfrm>
        </p:grpSpPr>
        <p:sp>
          <p:nvSpPr>
            <p:cNvPr id="31" name="Google Shape;229;g370fc456c4b_0_4">
              <a:extLst>
                <a:ext uri="{FF2B5EF4-FFF2-40B4-BE49-F238E27FC236}">
                  <a16:creationId xmlns:a16="http://schemas.microsoft.com/office/drawing/2014/main" id="{AE821881-EA04-8076-5864-32CA2DA5859E}"/>
                </a:ext>
              </a:extLst>
            </p:cNvPr>
            <p:cNvSpPr/>
            <p:nvPr/>
          </p:nvSpPr>
          <p:spPr>
            <a:xfrm>
              <a:off x="6480817" y="3994467"/>
              <a:ext cx="2886713" cy="115706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2" name="Google Shape;230;g370fc456c4b_0_4">
              <a:extLst>
                <a:ext uri="{FF2B5EF4-FFF2-40B4-BE49-F238E27FC236}">
                  <a16:creationId xmlns:a16="http://schemas.microsoft.com/office/drawing/2014/main" id="{3A45F459-FAC5-48CD-7F1A-41E2BDA07FB0}"/>
                </a:ext>
              </a:extLst>
            </p:cNvPr>
            <p:cNvCxnSpPr>
              <a:cxnSpLocks/>
              <a:stCxn id="33" idx="1"/>
              <a:endCxn id="31" idx="3"/>
            </p:cNvCxnSpPr>
            <p:nvPr/>
          </p:nvCxnSpPr>
          <p:spPr>
            <a:xfrm flipH="1">
              <a:off x="9367530" y="4572999"/>
              <a:ext cx="173520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E0BF6F62-A53E-A453-EB21-08599E541FC6}"/>
                </a:ext>
              </a:extLst>
            </p:cNvPr>
            <p:cNvSpPr/>
            <p:nvPr/>
          </p:nvSpPr>
          <p:spPr>
            <a:xfrm>
              <a:off x="9541050" y="4429263"/>
              <a:ext cx="177195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B80BA36-C8EE-C315-FB12-5F70F67C42CB}"/>
              </a:ext>
            </a:extLst>
          </p:cNvPr>
          <p:cNvGrpSpPr/>
          <p:nvPr/>
        </p:nvGrpSpPr>
        <p:grpSpPr>
          <a:xfrm>
            <a:off x="819013" y="3793265"/>
            <a:ext cx="4476744" cy="487987"/>
            <a:chOff x="6480817" y="3994467"/>
            <a:chExt cx="4476744" cy="487987"/>
          </a:xfrm>
        </p:grpSpPr>
        <p:sp>
          <p:nvSpPr>
            <p:cNvPr id="38" name="Google Shape;229;g370fc456c4b_0_4">
              <a:extLst>
                <a:ext uri="{FF2B5EF4-FFF2-40B4-BE49-F238E27FC236}">
                  <a16:creationId xmlns:a16="http://schemas.microsoft.com/office/drawing/2014/main" id="{32CD8E1B-3656-D090-9422-9EB33DB63746}"/>
                </a:ext>
              </a:extLst>
            </p:cNvPr>
            <p:cNvSpPr/>
            <p:nvPr/>
          </p:nvSpPr>
          <p:spPr>
            <a:xfrm>
              <a:off x="6480817" y="3994467"/>
              <a:ext cx="2886713" cy="48798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9" name="Google Shape;230;g370fc456c4b_0_4">
              <a:extLst>
                <a:ext uri="{FF2B5EF4-FFF2-40B4-BE49-F238E27FC236}">
                  <a16:creationId xmlns:a16="http://schemas.microsoft.com/office/drawing/2014/main" id="{8D2E67B2-B7F5-E393-EE0B-EAD131935351}"/>
                </a:ext>
              </a:extLst>
            </p:cNvPr>
            <p:cNvCxnSpPr>
              <a:cxnSpLocks/>
              <a:stCxn id="40" idx="1"/>
              <a:endCxn id="38" idx="3"/>
            </p:cNvCxnSpPr>
            <p:nvPr/>
          </p:nvCxnSpPr>
          <p:spPr>
            <a:xfrm flipH="1">
              <a:off x="9367530" y="4238460"/>
              <a:ext cx="163630" cy="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709EF577-0049-9691-9AA3-21D73B98C44B}"/>
                </a:ext>
              </a:extLst>
            </p:cNvPr>
            <p:cNvSpPr/>
            <p:nvPr/>
          </p:nvSpPr>
          <p:spPr>
            <a:xfrm>
              <a:off x="9531160" y="4094724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Typ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31277C2B-94B3-DDE6-F1F3-D93B03C9324D}"/>
              </a:ext>
            </a:extLst>
          </p:cNvPr>
          <p:cNvGrpSpPr/>
          <p:nvPr/>
        </p:nvGrpSpPr>
        <p:grpSpPr>
          <a:xfrm>
            <a:off x="8454280" y="3915262"/>
            <a:ext cx="2261402" cy="287472"/>
            <a:chOff x="9541050" y="4116464"/>
            <a:chExt cx="2261402" cy="287472"/>
          </a:xfrm>
        </p:grpSpPr>
        <p:sp>
          <p:nvSpPr>
            <p:cNvPr id="51" name="Google Shape;229;g370fc456c4b_0_4">
              <a:extLst>
                <a:ext uri="{FF2B5EF4-FFF2-40B4-BE49-F238E27FC236}">
                  <a16:creationId xmlns:a16="http://schemas.microsoft.com/office/drawing/2014/main" id="{966C8459-64D8-A115-C238-8EB29EDDAB81}"/>
                </a:ext>
              </a:extLst>
            </p:cNvPr>
            <p:cNvSpPr/>
            <p:nvPr/>
          </p:nvSpPr>
          <p:spPr>
            <a:xfrm>
              <a:off x="11131082" y="4138203"/>
              <a:ext cx="671370" cy="24399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2" name="Google Shape;230;g370fc456c4b_0_4">
              <a:extLst>
                <a:ext uri="{FF2B5EF4-FFF2-40B4-BE49-F238E27FC236}">
                  <a16:creationId xmlns:a16="http://schemas.microsoft.com/office/drawing/2014/main" id="{68719245-BC34-5E2C-B3ED-420B61FD9EB3}"/>
                </a:ext>
              </a:extLst>
            </p:cNvPr>
            <p:cNvCxnSpPr>
              <a:cxnSpLocks/>
              <a:stCxn id="53" idx="3"/>
              <a:endCxn id="51" idx="1"/>
            </p:cNvCxnSpPr>
            <p:nvPr/>
          </p:nvCxnSpPr>
          <p:spPr>
            <a:xfrm>
              <a:off x="10967451" y="4260200"/>
              <a:ext cx="16363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8D62C45B-59C4-EAF2-B1EC-B9C33445D59A}"/>
                </a:ext>
              </a:extLst>
            </p:cNvPr>
            <p:cNvSpPr/>
            <p:nvPr/>
          </p:nvSpPr>
          <p:spPr>
            <a:xfrm>
              <a:off x="9541050" y="4116464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5C04A000-BE60-4ED8-3D9D-247D6218230B}"/>
              </a:ext>
            </a:extLst>
          </p:cNvPr>
          <p:cNvGrpSpPr/>
          <p:nvPr/>
        </p:nvGrpSpPr>
        <p:grpSpPr>
          <a:xfrm>
            <a:off x="8454279" y="4422642"/>
            <a:ext cx="2523836" cy="287472"/>
            <a:chOff x="9541050" y="4116464"/>
            <a:chExt cx="2523836" cy="287472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40C23C43-D469-4931-F43D-4092834ABE84}"/>
                </a:ext>
              </a:extLst>
            </p:cNvPr>
            <p:cNvSpPr/>
            <p:nvPr/>
          </p:nvSpPr>
          <p:spPr>
            <a:xfrm>
              <a:off x="11131081" y="4138203"/>
              <a:ext cx="933805" cy="24399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0" name="Google Shape;230;g370fc456c4b_0_4">
              <a:extLst>
                <a:ext uri="{FF2B5EF4-FFF2-40B4-BE49-F238E27FC236}">
                  <a16:creationId xmlns:a16="http://schemas.microsoft.com/office/drawing/2014/main" id="{38CC76A4-8CA3-6BC6-F3AE-696E5C3EC173}"/>
                </a:ext>
              </a:extLst>
            </p:cNvPr>
            <p:cNvCxnSpPr>
              <a:cxnSpLocks/>
              <a:stCxn id="61" idx="3"/>
              <a:endCxn id="59" idx="1"/>
            </p:cNvCxnSpPr>
            <p:nvPr/>
          </p:nvCxnSpPr>
          <p:spPr>
            <a:xfrm>
              <a:off x="10967451" y="4260200"/>
              <a:ext cx="163630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4920CF30-62E3-3AC1-5631-2666103CC3AF}"/>
                </a:ext>
              </a:extLst>
            </p:cNvPr>
            <p:cNvSpPr/>
            <p:nvPr/>
          </p:nvSpPr>
          <p:spPr>
            <a:xfrm>
              <a:off x="9541050" y="4116464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Typ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6DDF98E1-9227-BBC7-8CF5-D966508C014B}"/>
              </a:ext>
            </a:extLst>
          </p:cNvPr>
          <p:cNvGrpSpPr/>
          <p:nvPr/>
        </p:nvGrpSpPr>
        <p:grpSpPr>
          <a:xfrm>
            <a:off x="8454279" y="4941019"/>
            <a:ext cx="2523836" cy="287472"/>
            <a:chOff x="9541050" y="4116464"/>
            <a:chExt cx="2523836" cy="287472"/>
          </a:xfrm>
        </p:grpSpPr>
        <p:sp>
          <p:nvSpPr>
            <p:cNvPr id="64" name="Google Shape;229;g370fc456c4b_0_4">
              <a:extLst>
                <a:ext uri="{FF2B5EF4-FFF2-40B4-BE49-F238E27FC236}">
                  <a16:creationId xmlns:a16="http://schemas.microsoft.com/office/drawing/2014/main" id="{84707BFC-42B1-BFCB-4F8B-DF8F2971ADB3}"/>
                </a:ext>
              </a:extLst>
            </p:cNvPr>
            <p:cNvSpPr/>
            <p:nvPr/>
          </p:nvSpPr>
          <p:spPr>
            <a:xfrm>
              <a:off x="11131081" y="4138203"/>
              <a:ext cx="933805" cy="24399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5" name="Google Shape;230;g370fc456c4b_0_4">
              <a:extLst>
                <a:ext uri="{FF2B5EF4-FFF2-40B4-BE49-F238E27FC236}">
                  <a16:creationId xmlns:a16="http://schemas.microsoft.com/office/drawing/2014/main" id="{ED3D960E-B85C-68A4-A9CA-0C74627F6114}"/>
                </a:ext>
              </a:extLst>
            </p:cNvPr>
            <p:cNvCxnSpPr>
              <a:cxnSpLocks/>
              <a:stCxn id="66" idx="3"/>
              <a:endCxn id="64" idx="1"/>
            </p:cNvCxnSpPr>
            <p:nvPr/>
          </p:nvCxnSpPr>
          <p:spPr>
            <a:xfrm>
              <a:off x="10967451" y="4260200"/>
              <a:ext cx="163630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6" name="Rectangle: Rounded Corners 65">
              <a:extLst>
                <a:ext uri="{FF2B5EF4-FFF2-40B4-BE49-F238E27FC236}">
                  <a16:creationId xmlns:a16="http://schemas.microsoft.com/office/drawing/2014/main" id="{45EDCE76-D114-14BE-55F8-90847435EE1E}"/>
                </a:ext>
              </a:extLst>
            </p:cNvPr>
            <p:cNvSpPr/>
            <p:nvPr/>
          </p:nvSpPr>
          <p:spPr>
            <a:xfrm>
              <a:off x="9541050" y="4116464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Typ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6C845654-AFE6-397F-0C1A-86BDEAB2F936}"/>
              </a:ext>
            </a:extLst>
          </p:cNvPr>
          <p:cNvGrpSpPr/>
          <p:nvPr/>
        </p:nvGrpSpPr>
        <p:grpSpPr>
          <a:xfrm>
            <a:off x="8454278" y="3063599"/>
            <a:ext cx="3586387" cy="355026"/>
            <a:chOff x="9541049" y="4138203"/>
            <a:chExt cx="3586387" cy="355026"/>
          </a:xfrm>
        </p:grpSpPr>
        <p:sp>
          <p:nvSpPr>
            <p:cNvPr id="68" name="Google Shape;229;g370fc456c4b_0_4">
              <a:extLst>
                <a:ext uri="{FF2B5EF4-FFF2-40B4-BE49-F238E27FC236}">
                  <a16:creationId xmlns:a16="http://schemas.microsoft.com/office/drawing/2014/main" id="{5F345038-0421-5AF1-157E-F631293D014A}"/>
                </a:ext>
              </a:extLst>
            </p:cNvPr>
            <p:cNvSpPr/>
            <p:nvPr/>
          </p:nvSpPr>
          <p:spPr>
            <a:xfrm>
              <a:off x="11131081" y="4138203"/>
              <a:ext cx="1996355" cy="35502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9" name="Google Shape;230;g370fc456c4b_0_4">
              <a:extLst>
                <a:ext uri="{FF2B5EF4-FFF2-40B4-BE49-F238E27FC236}">
                  <a16:creationId xmlns:a16="http://schemas.microsoft.com/office/drawing/2014/main" id="{3C2581E7-2842-013B-E37C-E761BD327DC3}"/>
                </a:ext>
              </a:extLst>
            </p:cNvPr>
            <p:cNvCxnSpPr>
              <a:cxnSpLocks/>
              <a:stCxn id="70" idx="3"/>
              <a:endCxn id="68" idx="1"/>
            </p:cNvCxnSpPr>
            <p:nvPr/>
          </p:nvCxnSpPr>
          <p:spPr>
            <a:xfrm>
              <a:off x="10967450" y="4315644"/>
              <a:ext cx="163631" cy="72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6A062A3A-69C5-560F-BCF7-12B60E36381F}"/>
                </a:ext>
              </a:extLst>
            </p:cNvPr>
            <p:cNvSpPr/>
            <p:nvPr/>
          </p:nvSpPr>
          <p:spPr>
            <a:xfrm>
              <a:off x="9541049" y="4171908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33131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12521A-EBB9-A851-4CFD-DDEAF12062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4176DCBC-8EA7-E985-1EDA-DBC6603A6BF5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C3DB22-7EDA-7662-4DF6-C63AEBBA5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IN TRELLO SYST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7163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965</TotalTime>
  <Words>2182</Words>
  <Application>Microsoft Office PowerPoint</Application>
  <PresentationFormat>Widescreen</PresentationFormat>
  <Paragraphs>415</Paragraphs>
  <Slides>34</Slides>
  <Notes>19</Notes>
  <HiddenSlides>9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39" baseType="lpstr">
      <vt:lpstr>Arial</vt:lpstr>
      <vt:lpstr>Calibri</vt:lpstr>
      <vt:lpstr>Segoe UI Semibold</vt:lpstr>
      <vt:lpstr>bbv template EN</vt:lpstr>
      <vt:lpstr>think-cell Slide</vt:lpstr>
      <vt:lpstr>PowerPoint Presentation</vt:lpstr>
      <vt:lpstr>FUNCTIONS IN THE TRELLO SYSTEM</vt:lpstr>
      <vt:lpstr>Agenda</vt:lpstr>
      <vt:lpstr>Introduction</vt:lpstr>
      <vt:lpstr>Key Functionalities </vt:lpstr>
      <vt:lpstr>BOARDS TAB IN TRELLO SYSTEM</vt:lpstr>
      <vt:lpstr>USER IN TRELLO SYSTEM</vt:lpstr>
      <vt:lpstr>WORKSPACE, BOARD IN TRELLO SYSTEM</vt:lpstr>
      <vt:lpstr>CARD IN TRELLO SYSTEM</vt:lpstr>
      <vt:lpstr>WORKSPACE IN TRELLO SYSTEM</vt:lpstr>
      <vt:lpstr>BOARD IN TRELLO SYSTEM</vt:lpstr>
      <vt:lpstr>CARD IN TRELLO SYSTEM</vt:lpstr>
      <vt:lpstr>STAGE, CARD IN TRELLO SYSTEM</vt:lpstr>
      <vt:lpstr>CARD IN TRELLO SYSTEM</vt:lpstr>
      <vt:lpstr>CARD IN TRELLO SYSTEM</vt:lpstr>
      <vt:lpstr>MEMBER WORKSPACE IN TRELLO SYSTEM</vt:lpstr>
      <vt:lpstr>MEMBER BOARD IN TRELLO SYSTEM</vt:lpstr>
      <vt:lpstr>MEMBER CARD IN TRELLO SYSTEM</vt:lpstr>
      <vt:lpstr>SETTINGS IN TRELLO SYSTEM</vt:lpstr>
      <vt:lpstr>CARD IN TRELLO SYSTEM</vt:lpstr>
      <vt:lpstr>TEMPLATE TAB IN TRELLO SYSTEM</vt:lpstr>
      <vt:lpstr>TEMPLATE TAB IN TRELLO SYSTEM</vt:lpstr>
      <vt:lpstr>TEMPLATE TAB IN TRELLO SYSTEM</vt:lpstr>
      <vt:lpstr>Q&amp;A</vt:lpstr>
      <vt:lpstr>PowerPoint Presentation</vt:lpstr>
      <vt:lpstr>bbv template EN</vt:lpstr>
      <vt:lpstr>bbv Master layouts &amp; slide library</vt:lpstr>
      <vt:lpstr>Transfer of existing slides into the new Master</vt:lpstr>
      <vt:lpstr>Change icon colour</vt:lpstr>
      <vt:lpstr>Insert image into placeholder</vt:lpstr>
      <vt:lpstr>Insert image into mock-up screen (mobile/laptop)</vt:lpstr>
      <vt:lpstr>bbv template EN</vt:lpstr>
      <vt:lpstr>Working area, guides &amp; ruler</vt:lpstr>
      <vt:lpstr>bbv colour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Dao Trong Vo</dc:creator>
  <cp:lastModifiedBy>VÕ TRẦN QUANG THÔNG</cp:lastModifiedBy>
  <cp:revision>112</cp:revision>
  <dcterms:created xsi:type="dcterms:W3CDTF">2025-07-10T03:51:23Z</dcterms:created>
  <dcterms:modified xsi:type="dcterms:W3CDTF">2025-08-09T11:19:03Z</dcterms:modified>
</cp:coreProperties>
</file>